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70" r:id="rId2"/>
  </p:sldMasterIdLst>
  <p:notesMasterIdLst>
    <p:notesMasterId r:id="rId18"/>
  </p:notesMasterIdLst>
  <p:handoutMasterIdLst>
    <p:handoutMasterId r:id="rId19"/>
  </p:handoutMasterIdLst>
  <p:sldIdLst>
    <p:sldId id="361" r:id="rId3"/>
    <p:sldId id="471" r:id="rId4"/>
    <p:sldId id="464" r:id="rId5"/>
    <p:sldId id="373" r:id="rId6"/>
    <p:sldId id="353" r:id="rId7"/>
    <p:sldId id="354" r:id="rId8"/>
    <p:sldId id="355" r:id="rId9"/>
    <p:sldId id="356" r:id="rId10"/>
    <p:sldId id="339" r:id="rId11"/>
    <p:sldId id="465" r:id="rId12"/>
    <p:sldId id="466" r:id="rId13"/>
    <p:sldId id="468" r:id="rId14"/>
    <p:sldId id="469" r:id="rId15"/>
    <p:sldId id="470" r:id="rId16"/>
    <p:sldId id="374" r:id="rId17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FFFFF"/>
    <a:srgbClr val="000000"/>
    <a:srgbClr val="FFF100"/>
    <a:srgbClr val="58DCFF"/>
    <a:srgbClr val="D9D9D9"/>
    <a:srgbClr val="657B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07" autoAdjust="0"/>
    <p:restoredTop sz="95732" autoAdjust="0"/>
  </p:normalViewPr>
  <p:slideViewPr>
    <p:cSldViewPr snapToObjects="1" showGuides="1">
      <p:cViewPr varScale="1">
        <p:scale>
          <a:sx n="102" d="100"/>
          <a:sy n="102" d="100"/>
        </p:scale>
        <p:origin x="678" y="102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Stevens" userId="b6815b1ecc207c78" providerId="LiveId" clId="{7F06FEBE-BCFA-4FE5-84DD-C8C8E7FEAF16}"/>
    <pc:docChg chg="undo custSel addSld delSld modSld sldOrd">
      <pc:chgData name="David Stevens" userId="b6815b1ecc207c78" providerId="LiveId" clId="{7F06FEBE-BCFA-4FE5-84DD-C8C8E7FEAF16}" dt="2018-05-24T11:41:11.824" v="3153" actId="1076"/>
      <pc:docMkLst>
        <pc:docMk/>
      </pc:docMkLst>
      <pc:sldChg chg="addSp modSp modAnim">
        <pc:chgData name="David Stevens" userId="b6815b1ecc207c78" providerId="LiveId" clId="{7F06FEBE-BCFA-4FE5-84DD-C8C8E7FEAF16}" dt="2018-05-21T09:41:34.969" v="3058" actId="108"/>
        <pc:sldMkLst>
          <pc:docMk/>
          <pc:sldMk cId="4154490227" sldId="339"/>
        </pc:sldMkLst>
        <pc:spChg chg="add mod">
          <ac:chgData name="David Stevens" userId="b6815b1ecc207c78" providerId="LiveId" clId="{7F06FEBE-BCFA-4FE5-84DD-C8C8E7FEAF16}" dt="2018-05-21T09:41:13.860" v="3038" actId="20577"/>
          <ac:spMkLst>
            <pc:docMk/>
            <pc:sldMk cId="4154490227" sldId="339"/>
            <ac:spMk id="3" creationId="{6E360439-9A76-4843-893B-15C80FE4D53C}"/>
          </ac:spMkLst>
        </pc:spChg>
        <pc:spChg chg="add mod">
          <ac:chgData name="David Stevens" userId="b6815b1ecc207c78" providerId="LiveId" clId="{7F06FEBE-BCFA-4FE5-84DD-C8C8E7FEAF16}" dt="2018-05-21T09:41:31.500" v="3057" actId="20577"/>
          <ac:spMkLst>
            <pc:docMk/>
            <pc:sldMk cId="4154490227" sldId="339"/>
            <ac:spMk id="39" creationId="{741B3033-AA78-4BD6-A0F5-1C3ECBAFD0BD}"/>
          </ac:spMkLst>
        </pc:spChg>
        <pc:spChg chg="add mod">
          <ac:chgData name="David Stevens" userId="b6815b1ecc207c78" providerId="LiveId" clId="{7F06FEBE-BCFA-4FE5-84DD-C8C8E7FEAF16}" dt="2018-05-21T09:41:34.969" v="3058" actId="108"/>
          <ac:spMkLst>
            <pc:docMk/>
            <pc:sldMk cId="4154490227" sldId="339"/>
            <ac:spMk id="40" creationId="{7929451B-F0E9-4AAF-B976-36BB5DBE6C30}"/>
          </ac:spMkLst>
        </pc:spChg>
        <pc:spChg chg="add mod">
          <ac:chgData name="David Stevens" userId="b6815b1ecc207c78" providerId="LiveId" clId="{7F06FEBE-BCFA-4FE5-84DD-C8C8E7FEAF16}" dt="2018-05-21T09:41:06.598" v="3034" actId="3064"/>
          <ac:spMkLst>
            <pc:docMk/>
            <pc:sldMk cId="4154490227" sldId="339"/>
            <ac:spMk id="41" creationId="{1628D480-28C5-4F49-95E8-FCFD031EEEF7}"/>
          </ac:spMkLst>
        </pc:spChg>
        <pc:spChg chg="mod">
          <ac:chgData name="David Stevens" userId="b6815b1ecc207c78" providerId="LiveId" clId="{7F06FEBE-BCFA-4FE5-84DD-C8C8E7FEAF16}" dt="2018-05-18T14:43:37.455" v="2297" actId="12789"/>
          <ac:spMkLst>
            <pc:docMk/>
            <pc:sldMk cId="4154490227" sldId="339"/>
            <ac:spMk id="50" creationId="{00000000-0000-0000-0000-000000000000}"/>
          </ac:spMkLst>
        </pc:spChg>
        <pc:spChg chg="mod">
          <ac:chgData name="David Stevens" userId="b6815b1ecc207c78" providerId="LiveId" clId="{7F06FEBE-BCFA-4FE5-84DD-C8C8E7FEAF16}" dt="2018-05-18T14:43:37.455" v="2297" actId="12789"/>
          <ac:spMkLst>
            <pc:docMk/>
            <pc:sldMk cId="4154490227" sldId="339"/>
            <ac:spMk id="51" creationId="{00000000-0000-0000-0000-000000000000}"/>
          </ac:spMkLst>
        </pc:spChg>
        <pc:spChg chg="mod">
          <ac:chgData name="David Stevens" userId="b6815b1ecc207c78" providerId="LiveId" clId="{7F06FEBE-BCFA-4FE5-84DD-C8C8E7FEAF16}" dt="2018-05-18T14:43:37.455" v="2297" actId="12789"/>
          <ac:spMkLst>
            <pc:docMk/>
            <pc:sldMk cId="4154490227" sldId="339"/>
            <ac:spMk id="52" creationId="{00000000-0000-0000-0000-000000000000}"/>
          </ac:spMkLst>
        </pc:spChg>
        <pc:grpChg chg="add mod">
          <ac:chgData name="David Stevens" userId="b6815b1ecc207c78" providerId="LiveId" clId="{7F06FEBE-BCFA-4FE5-84DD-C8C8E7FEAF16}" dt="2018-05-18T14:43:54.642" v="2299" actId="164"/>
          <ac:grpSpMkLst>
            <pc:docMk/>
            <pc:sldMk cId="4154490227" sldId="339"/>
            <ac:grpSpMk id="5" creationId="{239D2CC9-2839-4C5F-9157-FCCE1C64F3B1}"/>
          </ac:grpSpMkLst>
        </pc:grpChg>
        <pc:picChg chg="mod">
          <ac:chgData name="David Stevens" userId="b6815b1ecc207c78" providerId="LiveId" clId="{7F06FEBE-BCFA-4FE5-84DD-C8C8E7FEAF16}" dt="2018-05-18T14:43:40.663" v="2298" actId="12788"/>
          <ac:picMkLst>
            <pc:docMk/>
            <pc:sldMk cId="4154490227" sldId="339"/>
            <ac:picMk id="59" creationId="{47DE2E87-7B6E-4CE2-B2BC-FC9E25EADABB}"/>
          </ac:picMkLst>
        </pc:picChg>
      </pc:sldChg>
      <pc:sldChg chg="modSp">
        <pc:chgData name="David Stevens" userId="b6815b1ecc207c78" providerId="LiveId" clId="{7F06FEBE-BCFA-4FE5-84DD-C8C8E7FEAF16}" dt="2018-05-21T09:40:38.277" v="3027" actId="20577"/>
        <pc:sldMkLst>
          <pc:docMk/>
          <pc:sldMk cId="2452756145" sldId="361"/>
        </pc:sldMkLst>
        <pc:spChg chg="mod">
          <ac:chgData name="David Stevens" userId="b6815b1ecc207c78" providerId="LiveId" clId="{7F06FEBE-BCFA-4FE5-84DD-C8C8E7FEAF16}" dt="2018-05-21T09:40:38.277" v="3027" actId="20577"/>
          <ac:spMkLst>
            <pc:docMk/>
            <pc:sldMk cId="2452756145" sldId="361"/>
            <ac:spMk id="2" creationId="{00000000-0000-0000-0000-000000000000}"/>
          </ac:spMkLst>
        </pc:spChg>
      </pc:sldChg>
      <pc:sldChg chg="del">
        <pc:chgData name="David Stevens" userId="b6815b1ecc207c78" providerId="LiveId" clId="{7F06FEBE-BCFA-4FE5-84DD-C8C8E7FEAF16}" dt="2018-05-24T10:52:45.082" v="3098" actId="2696"/>
        <pc:sldMkLst>
          <pc:docMk/>
          <pc:sldMk cId="1763998629" sldId="368"/>
        </pc:sldMkLst>
      </pc:sldChg>
      <pc:sldChg chg="addSp delSp modSp add">
        <pc:chgData name="David Stevens" userId="b6815b1ecc207c78" providerId="LiveId" clId="{7F06FEBE-BCFA-4FE5-84DD-C8C8E7FEAF16}" dt="2018-05-21T10:10:03.256" v="3093" actId="20577"/>
        <pc:sldMkLst>
          <pc:docMk/>
          <pc:sldMk cId="1629044993" sldId="373"/>
        </pc:sldMkLst>
        <pc:spChg chg="del">
          <ac:chgData name="David Stevens" userId="b6815b1ecc207c78" providerId="LiveId" clId="{7F06FEBE-BCFA-4FE5-84DD-C8C8E7FEAF16}" dt="2018-05-18T12:50:39.853" v="1" actId="27636"/>
          <ac:spMkLst>
            <pc:docMk/>
            <pc:sldMk cId="1629044993" sldId="373"/>
            <ac:spMk id="2" creationId="{9D0DB77F-FE22-4CEF-964A-9D919EB2D6F1}"/>
          </ac:spMkLst>
        </pc:spChg>
        <pc:spChg chg="del">
          <ac:chgData name="David Stevens" userId="b6815b1ecc207c78" providerId="LiveId" clId="{7F06FEBE-BCFA-4FE5-84DD-C8C8E7FEAF16}" dt="2018-05-18T12:50:39.853" v="1" actId="27636"/>
          <ac:spMkLst>
            <pc:docMk/>
            <pc:sldMk cId="1629044993" sldId="373"/>
            <ac:spMk id="3" creationId="{BF6D1674-7BE0-4586-897E-0FDB97A34F1E}"/>
          </ac:spMkLst>
        </pc:spChg>
        <pc:spChg chg="add mod">
          <ac:chgData name="David Stevens" userId="b6815b1ecc207c78" providerId="LiveId" clId="{7F06FEBE-BCFA-4FE5-84DD-C8C8E7FEAF16}" dt="2018-05-18T13:18:46.814" v="40" actId="20577"/>
          <ac:spMkLst>
            <pc:docMk/>
            <pc:sldMk cId="1629044993" sldId="373"/>
            <ac:spMk id="4" creationId="{A8D243D2-21F9-4E04-8A3B-17336F274952}"/>
          </ac:spMkLst>
        </pc:spChg>
        <pc:spChg chg="add mod">
          <ac:chgData name="David Stevens" userId="b6815b1ecc207c78" providerId="LiveId" clId="{7F06FEBE-BCFA-4FE5-84DD-C8C8E7FEAF16}" dt="2018-05-21T10:10:03.256" v="3093" actId="20577"/>
          <ac:spMkLst>
            <pc:docMk/>
            <pc:sldMk cId="1629044993" sldId="373"/>
            <ac:spMk id="5" creationId="{EA61A520-923F-4C7A-9DB3-A0E66BC1376B}"/>
          </ac:spMkLst>
        </pc:spChg>
      </pc:sldChg>
      <pc:sldChg chg="addSp delSp modSp add ord">
        <pc:chgData name="David Stevens" userId="b6815b1ecc207c78" providerId="LiveId" clId="{7F06FEBE-BCFA-4FE5-84DD-C8C8E7FEAF16}" dt="2018-05-24T10:53:01.483" v="3110" actId="20577"/>
        <pc:sldMkLst>
          <pc:docMk/>
          <pc:sldMk cId="3988583854" sldId="374"/>
        </pc:sldMkLst>
        <pc:spChg chg="mod">
          <ac:chgData name="David Stevens" userId="b6815b1ecc207c78" providerId="LiveId" clId="{7F06FEBE-BCFA-4FE5-84DD-C8C8E7FEAF16}" dt="2018-05-18T15:19:40.492" v="3021" actId="403"/>
          <ac:spMkLst>
            <pc:docMk/>
            <pc:sldMk cId="3988583854" sldId="374"/>
            <ac:spMk id="2" creationId="{190DBF31-32A0-40DC-9065-FC0B9858B38B}"/>
          </ac:spMkLst>
        </pc:spChg>
        <pc:spChg chg="del mod">
          <ac:chgData name="David Stevens" userId="b6815b1ecc207c78" providerId="LiveId" clId="{7F06FEBE-BCFA-4FE5-84DD-C8C8E7FEAF16}" dt="2018-05-18T13:24:33.514" v="635" actId="478"/>
          <ac:spMkLst>
            <pc:docMk/>
            <pc:sldMk cId="3988583854" sldId="374"/>
            <ac:spMk id="3" creationId="{C8FCB75C-39B9-4379-93A2-B731DAE36AD0}"/>
          </ac:spMkLst>
        </pc:spChg>
        <pc:spChg chg="add del mod">
          <ac:chgData name="David Stevens" userId="b6815b1ecc207c78" providerId="LiveId" clId="{7F06FEBE-BCFA-4FE5-84DD-C8C8E7FEAF16}" dt="2018-05-18T13:24:34.641" v="636" actId="478"/>
          <ac:spMkLst>
            <pc:docMk/>
            <pc:sldMk cId="3988583854" sldId="374"/>
            <ac:spMk id="5" creationId="{2F0E966A-A0F3-4E31-87E6-D6F5AC62636E}"/>
          </ac:spMkLst>
        </pc:spChg>
        <pc:spChg chg="add del mod">
          <ac:chgData name="David Stevens" userId="b6815b1ecc207c78" providerId="LiveId" clId="{7F06FEBE-BCFA-4FE5-84DD-C8C8E7FEAF16}" dt="2018-05-24T10:53:01.483" v="3110" actId="20577"/>
          <ac:spMkLst>
            <pc:docMk/>
            <pc:sldMk cId="3988583854" sldId="374"/>
            <ac:spMk id="6" creationId="{B9E68B45-D0DD-4885-9E71-C2ED2A5D2C48}"/>
          </ac:spMkLst>
        </pc:spChg>
        <pc:spChg chg="add mod">
          <ac:chgData name="David Stevens" userId="b6815b1ecc207c78" providerId="LiveId" clId="{7F06FEBE-BCFA-4FE5-84DD-C8C8E7FEAF16}" dt="2018-05-18T14:08:54.930" v="1179" actId="12788"/>
          <ac:spMkLst>
            <pc:docMk/>
            <pc:sldMk cId="3988583854" sldId="374"/>
            <ac:spMk id="7" creationId="{57F4EB57-7DA7-4C39-9DE0-63DEEBA05FD6}"/>
          </ac:spMkLst>
        </pc:spChg>
        <pc:spChg chg="add del">
          <ac:chgData name="David Stevens" userId="b6815b1ecc207c78" providerId="LiveId" clId="{7F06FEBE-BCFA-4FE5-84DD-C8C8E7FEAF16}" dt="2018-05-18T13:25:47.139" v="734" actId="403"/>
          <ac:spMkLst>
            <pc:docMk/>
            <pc:sldMk cId="3988583854" sldId="374"/>
            <ac:spMk id="8" creationId="{205735BD-2A50-45E0-92A7-A6ED6E2A6547}"/>
          </ac:spMkLst>
        </pc:spChg>
        <pc:spChg chg="add del mod">
          <ac:chgData name="David Stevens" userId="b6815b1ecc207c78" providerId="LiveId" clId="{7F06FEBE-BCFA-4FE5-84DD-C8C8E7FEAF16}" dt="2018-05-18T14:06:29.343" v="1066" actId="403"/>
          <ac:spMkLst>
            <pc:docMk/>
            <pc:sldMk cId="3988583854" sldId="374"/>
            <ac:spMk id="14" creationId="{546B4548-B7D2-4E82-927F-D5E710BC8B80}"/>
          </ac:spMkLst>
        </pc:spChg>
        <pc:spChg chg="add mod">
          <ac:chgData name="David Stevens" userId="b6815b1ecc207c78" providerId="LiveId" clId="{7F06FEBE-BCFA-4FE5-84DD-C8C8E7FEAF16}" dt="2018-05-18T13:28:51.645" v="844" actId="164"/>
          <ac:spMkLst>
            <pc:docMk/>
            <pc:sldMk cId="3988583854" sldId="374"/>
            <ac:spMk id="15" creationId="{268F9D78-2D9C-4FA0-B871-4501A52A6FAE}"/>
          </ac:spMkLst>
        </pc:spChg>
        <pc:spChg chg="add mod">
          <ac:chgData name="David Stevens" userId="b6815b1ecc207c78" providerId="LiveId" clId="{7F06FEBE-BCFA-4FE5-84DD-C8C8E7FEAF16}" dt="2018-05-18T13:28:51.645" v="844" actId="164"/>
          <ac:spMkLst>
            <pc:docMk/>
            <pc:sldMk cId="3988583854" sldId="374"/>
            <ac:spMk id="16" creationId="{E7E1556C-F68F-45F4-8ECA-FA8C05C3B00E}"/>
          </ac:spMkLst>
        </pc:spChg>
        <pc:spChg chg="add del mod">
          <ac:chgData name="David Stevens" userId="b6815b1ecc207c78" providerId="LiveId" clId="{7F06FEBE-BCFA-4FE5-84DD-C8C8E7FEAF16}" dt="2018-05-18T14:06:29.344" v="1068" actId="403"/>
          <ac:spMkLst>
            <pc:docMk/>
            <pc:sldMk cId="3988583854" sldId="374"/>
            <ac:spMk id="18" creationId="{DFBD4FED-288E-48BF-90D8-C4A77E86566B}"/>
          </ac:spMkLst>
        </pc:spChg>
        <pc:spChg chg="add del mod">
          <ac:chgData name="David Stevens" userId="b6815b1ecc207c78" providerId="LiveId" clId="{7F06FEBE-BCFA-4FE5-84DD-C8C8E7FEAF16}" dt="2018-05-18T14:02:11.990" v="983" actId="403"/>
          <ac:spMkLst>
            <pc:docMk/>
            <pc:sldMk cId="3988583854" sldId="374"/>
            <ac:spMk id="26" creationId="{42289D73-C0F0-49DE-B623-D98272946B8D}"/>
          </ac:spMkLst>
        </pc:spChg>
        <pc:spChg chg="add del mod">
          <ac:chgData name="David Stevens" userId="b6815b1ecc207c78" providerId="LiveId" clId="{7F06FEBE-BCFA-4FE5-84DD-C8C8E7FEAF16}" dt="2018-05-18T14:02:11.990" v="983" actId="403"/>
          <ac:spMkLst>
            <pc:docMk/>
            <pc:sldMk cId="3988583854" sldId="374"/>
            <ac:spMk id="27" creationId="{9F726DFC-76E5-4924-9EF7-B274E1BC5386}"/>
          </ac:spMkLst>
        </pc:spChg>
        <pc:spChg chg="add del mod">
          <ac:chgData name="David Stevens" userId="b6815b1ecc207c78" providerId="LiveId" clId="{7F06FEBE-BCFA-4FE5-84DD-C8C8E7FEAF16}" dt="2018-05-18T14:02:11.990" v="983" actId="403"/>
          <ac:spMkLst>
            <pc:docMk/>
            <pc:sldMk cId="3988583854" sldId="374"/>
            <ac:spMk id="28" creationId="{4BBC755D-89EF-4322-B3C4-D18D8FFB7295}"/>
          </ac:spMkLst>
        </pc:spChg>
        <pc:spChg chg="add del mod">
          <ac:chgData name="David Stevens" userId="b6815b1ecc207c78" providerId="LiveId" clId="{7F06FEBE-BCFA-4FE5-84DD-C8C8E7FEAF16}" dt="2018-05-18T14:02:11.990" v="983" actId="403"/>
          <ac:spMkLst>
            <pc:docMk/>
            <pc:sldMk cId="3988583854" sldId="374"/>
            <ac:spMk id="29" creationId="{25652942-5155-4E12-AE8E-CEBFB5D045A5}"/>
          </ac:spMkLst>
        </pc:spChg>
        <pc:spChg chg="add mod">
          <ac:chgData name="David Stevens" userId="b6815b1ecc207c78" providerId="LiveId" clId="{7F06FEBE-BCFA-4FE5-84DD-C8C8E7FEAF16}" dt="2018-05-18T14:11:39.746" v="1260" actId="6549"/>
          <ac:spMkLst>
            <pc:docMk/>
            <pc:sldMk cId="3988583854" sldId="374"/>
            <ac:spMk id="30" creationId="{52DC0F19-6C50-4341-8C1F-51B2D8473B38}"/>
          </ac:spMkLst>
        </pc:spChg>
        <pc:spChg chg="add mod">
          <ac:chgData name="David Stevens" userId="b6815b1ecc207c78" providerId="LiveId" clId="{7F06FEBE-BCFA-4FE5-84DD-C8C8E7FEAF16}" dt="2018-05-18T14:09:14.424" v="1195" actId="1582"/>
          <ac:spMkLst>
            <pc:docMk/>
            <pc:sldMk cId="3988583854" sldId="374"/>
            <ac:spMk id="37" creationId="{AD3A205F-E719-4917-B563-0315361C8A5D}"/>
          </ac:spMkLst>
        </pc:spChg>
        <pc:spChg chg="add mod">
          <ac:chgData name="David Stevens" userId="b6815b1ecc207c78" providerId="LiveId" clId="{7F06FEBE-BCFA-4FE5-84DD-C8C8E7FEAF16}" dt="2018-05-18T14:09:14.424" v="1195" actId="1582"/>
          <ac:spMkLst>
            <pc:docMk/>
            <pc:sldMk cId="3988583854" sldId="374"/>
            <ac:spMk id="38" creationId="{F559DAF0-6062-448C-89A9-B06A663DFFBF}"/>
          </ac:spMkLst>
        </pc:spChg>
        <pc:spChg chg="add mod">
          <ac:chgData name="David Stevens" userId="b6815b1ecc207c78" providerId="LiveId" clId="{7F06FEBE-BCFA-4FE5-84DD-C8C8E7FEAF16}" dt="2018-05-18T14:10:40.002" v="1228" actId="164"/>
          <ac:spMkLst>
            <pc:docMk/>
            <pc:sldMk cId="3988583854" sldId="374"/>
            <ac:spMk id="39" creationId="{E9C01721-DDE0-42D6-900C-F35796352030}"/>
          </ac:spMkLst>
        </pc:spChg>
        <pc:spChg chg="add del mod">
          <ac:chgData name="David Stevens" userId="b6815b1ecc207c78" providerId="LiveId" clId="{7F06FEBE-BCFA-4FE5-84DD-C8C8E7FEAF16}" dt="2018-05-18T14:05:49.866" v="1038" actId="478"/>
          <ac:spMkLst>
            <pc:docMk/>
            <pc:sldMk cId="3988583854" sldId="374"/>
            <ac:spMk id="2049" creationId="{43F5716F-5533-4610-BFD6-0E4FF6313E01}"/>
          </ac:spMkLst>
        </pc:spChg>
        <pc:spChg chg="add mod">
          <ac:chgData name="David Stevens" userId="b6815b1ecc207c78" providerId="LiveId" clId="{7F06FEBE-BCFA-4FE5-84DD-C8C8E7FEAF16}" dt="2018-05-18T14:10:44.930" v="1229" actId="12788"/>
          <ac:spMkLst>
            <pc:docMk/>
            <pc:sldMk cId="3988583854" sldId="374"/>
            <ac:spMk id="2051" creationId="{F663BF14-F2A0-4203-AA43-2DC97122E242}"/>
          </ac:spMkLst>
        </pc:spChg>
        <pc:spChg chg="add mod">
          <ac:chgData name="David Stevens" userId="b6815b1ecc207c78" providerId="LiveId" clId="{7F06FEBE-BCFA-4FE5-84DD-C8C8E7FEAF16}" dt="2018-05-18T14:10:40.002" v="1228" actId="164"/>
          <ac:spMkLst>
            <pc:docMk/>
            <pc:sldMk cId="3988583854" sldId="374"/>
            <ac:spMk id="2057" creationId="{AA146F67-1690-4037-A699-A42B2FA591D5}"/>
          </ac:spMkLst>
        </pc:spChg>
        <pc:spChg chg="add del mod">
          <ac:chgData name="David Stevens" userId="b6815b1ecc207c78" providerId="LiveId" clId="{7F06FEBE-BCFA-4FE5-84DD-C8C8E7FEAF16}" dt="2018-05-18T14:11:13.889" v="1250" actId="478"/>
          <ac:spMkLst>
            <pc:docMk/>
            <pc:sldMk cId="3988583854" sldId="374"/>
            <ac:spMk id="2059" creationId="{F7903186-A581-40CE-B0A6-B6678D19C0E7}"/>
          </ac:spMkLst>
        </pc:spChg>
        <pc:spChg chg="add del mod">
          <ac:chgData name="David Stevens" userId="b6815b1ecc207c78" providerId="LiveId" clId="{7F06FEBE-BCFA-4FE5-84DD-C8C8E7FEAF16}" dt="2018-05-18T15:19:37.470" v="3020" actId="403"/>
          <ac:spMkLst>
            <pc:docMk/>
            <pc:sldMk cId="3988583854" sldId="374"/>
            <ac:spMk id="2060" creationId="{6465B8FD-3C4C-486C-A2FC-8855BE5C51C1}"/>
          </ac:spMkLst>
        </pc:spChg>
        <pc:spChg chg="add del mod">
          <ac:chgData name="David Stevens" userId="b6815b1ecc207c78" providerId="LiveId" clId="{7F06FEBE-BCFA-4FE5-84DD-C8C8E7FEAF16}" dt="2018-05-18T15:19:37.470" v="3020" actId="403"/>
          <ac:spMkLst>
            <pc:docMk/>
            <pc:sldMk cId="3988583854" sldId="374"/>
            <ac:spMk id="2061" creationId="{643E4C4F-FEBE-4883-97A1-5FDE08DCDE00}"/>
          </ac:spMkLst>
        </pc:spChg>
        <pc:spChg chg="add del mod">
          <ac:chgData name="David Stevens" userId="b6815b1ecc207c78" providerId="LiveId" clId="{7F06FEBE-BCFA-4FE5-84DD-C8C8E7FEAF16}" dt="2018-05-18T15:19:37.470" v="3020" actId="403"/>
          <ac:spMkLst>
            <pc:docMk/>
            <pc:sldMk cId="3988583854" sldId="374"/>
            <ac:spMk id="2062" creationId="{BDED9C81-63F1-4997-9085-11020AE7151E}"/>
          </ac:spMkLst>
        </pc:spChg>
        <pc:spChg chg="add del mod">
          <ac:chgData name="David Stevens" userId="b6815b1ecc207c78" providerId="LiveId" clId="{7F06FEBE-BCFA-4FE5-84DD-C8C8E7FEAF16}" dt="2018-05-18T15:19:37.470" v="3020" actId="403"/>
          <ac:spMkLst>
            <pc:docMk/>
            <pc:sldMk cId="3988583854" sldId="374"/>
            <ac:spMk id="2063" creationId="{5E44A157-3423-4DD0-93BD-9A5010E79098}"/>
          </ac:spMkLst>
        </pc:spChg>
        <pc:grpChg chg="add mod">
          <ac:chgData name="David Stevens" userId="b6815b1ecc207c78" providerId="LiveId" clId="{7F06FEBE-BCFA-4FE5-84DD-C8C8E7FEAF16}" dt="2018-05-18T14:10:48.634" v="1230" actId="12789"/>
          <ac:grpSpMkLst>
            <pc:docMk/>
            <pc:sldMk cId="3988583854" sldId="374"/>
            <ac:grpSpMk id="13" creationId="{F01D6313-81D5-44FC-86F4-A6FE9F1721DC}"/>
          </ac:grpSpMkLst>
        </pc:grpChg>
        <pc:grpChg chg="add del mod">
          <ac:chgData name="David Stevens" userId="b6815b1ecc207c78" providerId="LiveId" clId="{7F06FEBE-BCFA-4FE5-84DD-C8C8E7FEAF16}" dt="2018-05-18T14:04:03.840" v="1009" actId="478"/>
          <ac:grpSpMkLst>
            <pc:docMk/>
            <pc:sldMk cId="3988583854" sldId="374"/>
            <ac:grpSpMk id="17" creationId="{EB0AE64C-11A3-4ACD-9B3E-5A8C34C89EAA}"/>
          </ac:grpSpMkLst>
        </pc:grpChg>
        <pc:grpChg chg="add del mod">
          <ac:chgData name="David Stevens" userId="b6815b1ecc207c78" providerId="LiveId" clId="{7F06FEBE-BCFA-4FE5-84DD-C8C8E7FEAF16}" dt="2018-05-18T14:03:01.066" v="999" actId="478"/>
          <ac:grpSpMkLst>
            <pc:docMk/>
            <pc:sldMk cId="3988583854" sldId="374"/>
            <ac:grpSpMk id="20" creationId="{C31F44A5-BB4C-48F5-98E2-68655C408651}"/>
          </ac:grpSpMkLst>
        </pc:grpChg>
        <pc:grpChg chg="add mod">
          <ac:chgData name="David Stevens" userId="b6815b1ecc207c78" providerId="LiveId" clId="{7F06FEBE-BCFA-4FE5-84DD-C8C8E7FEAF16}" dt="2018-05-18T14:10:48.634" v="1230" actId="12789"/>
          <ac:grpSpMkLst>
            <pc:docMk/>
            <pc:sldMk cId="3988583854" sldId="374"/>
            <ac:grpSpMk id="2058" creationId="{CC2F3BB4-8DB8-4DB4-982E-7490CB1B4197}"/>
          </ac:grpSpMkLst>
        </pc:grpChg>
        <pc:picChg chg="add del">
          <ac:chgData name="David Stevens" userId="b6815b1ecc207c78" providerId="LiveId" clId="{7F06FEBE-BCFA-4FE5-84DD-C8C8E7FEAF16}" dt="2018-05-18T13:24:47.661" v="643" actId="403"/>
          <ac:picMkLst>
            <pc:docMk/>
            <pc:sldMk cId="3988583854" sldId="374"/>
            <ac:picMk id="9" creationId="{30FA2059-7091-4D8D-AABB-9E15B52AA834}"/>
          </ac:picMkLst>
        </pc:picChg>
        <pc:picChg chg="add mod">
          <ac:chgData name="David Stevens" userId="b6815b1ecc207c78" providerId="LiveId" clId="{7F06FEBE-BCFA-4FE5-84DD-C8C8E7FEAF16}" dt="2018-05-18T14:10:48.634" v="1230" actId="12789"/>
          <ac:picMkLst>
            <pc:docMk/>
            <pc:sldMk cId="3988583854" sldId="374"/>
            <ac:picMk id="10" creationId="{85FABBFE-5D78-4C60-B598-BF0C84AFC2AC}"/>
          </ac:picMkLst>
        </pc:picChg>
        <pc:picChg chg="add del">
          <ac:chgData name="David Stevens" userId="b6815b1ecc207c78" providerId="LiveId" clId="{7F06FEBE-BCFA-4FE5-84DD-C8C8E7FEAF16}" dt="2018-05-18T13:25:49.608" v="736" actId="478"/>
          <ac:picMkLst>
            <pc:docMk/>
            <pc:sldMk cId="3988583854" sldId="374"/>
            <ac:picMk id="11" creationId="{7C91F7AD-6412-436C-8FA1-97FB3D1819B9}"/>
          </ac:picMkLst>
        </pc:picChg>
        <pc:picChg chg="add mod">
          <ac:chgData name="David Stevens" userId="b6815b1ecc207c78" providerId="LiveId" clId="{7F06FEBE-BCFA-4FE5-84DD-C8C8E7FEAF16}" dt="2018-05-18T13:26:22.706" v="743" actId="164"/>
          <ac:picMkLst>
            <pc:docMk/>
            <pc:sldMk cId="3988583854" sldId="374"/>
            <ac:picMk id="12" creationId="{1E4B79CA-8427-48F3-A5A5-772FD0F794C1}"/>
          </ac:picMkLst>
        </pc:picChg>
        <pc:picChg chg="add del mod">
          <ac:chgData name="David Stevens" userId="b6815b1ecc207c78" providerId="LiveId" clId="{7F06FEBE-BCFA-4FE5-84DD-C8C8E7FEAF16}" dt="2018-05-18T13:24:45.822" v="641" actId="403"/>
          <ac:picMkLst>
            <pc:docMk/>
            <pc:sldMk cId="3988583854" sldId="374"/>
            <ac:picMk id="2050" creationId="{8A245121-13B1-46D1-89F8-2ABBE2D2EB16}"/>
          </ac:picMkLst>
        </pc:picChg>
        <pc:picChg chg="add mod">
          <ac:chgData name="David Stevens" userId="b6815b1ecc207c78" providerId="LiveId" clId="{7F06FEBE-BCFA-4FE5-84DD-C8C8E7FEAF16}" dt="2018-05-18T13:26:22.706" v="743" actId="164"/>
          <ac:picMkLst>
            <pc:docMk/>
            <pc:sldMk cId="3988583854" sldId="374"/>
            <ac:picMk id="2052" creationId="{5056F2AC-516C-41E0-A2DC-79C888366968}"/>
          </ac:picMkLst>
        </pc:picChg>
        <pc:picChg chg="add del mod">
          <ac:chgData name="David Stevens" userId="b6815b1ecc207c78" providerId="LiveId" clId="{7F06FEBE-BCFA-4FE5-84DD-C8C8E7FEAF16}" dt="2018-05-18T14:09:52.560" v="1203" actId="478"/>
          <ac:picMkLst>
            <pc:docMk/>
            <pc:sldMk cId="3988583854" sldId="374"/>
            <ac:picMk id="2054" creationId="{F6A22C0B-23BB-440B-A274-947697DE3AF8}"/>
          </ac:picMkLst>
        </pc:picChg>
        <pc:picChg chg="add mod">
          <ac:chgData name="David Stevens" userId="b6815b1ecc207c78" providerId="LiveId" clId="{7F06FEBE-BCFA-4FE5-84DD-C8C8E7FEAF16}" dt="2018-05-18T14:10:40.002" v="1228" actId="164"/>
          <ac:picMkLst>
            <pc:docMk/>
            <pc:sldMk cId="3988583854" sldId="374"/>
            <ac:picMk id="2056" creationId="{0AF01B50-A7E4-4872-870B-876718D0F2C3}"/>
          </ac:picMkLst>
        </pc:picChg>
        <pc:cxnChg chg="add del mod">
          <ac:chgData name="David Stevens" userId="b6815b1ecc207c78" providerId="LiveId" clId="{7F06FEBE-BCFA-4FE5-84DD-C8C8E7FEAF16}" dt="2018-05-18T14:02:50.941" v="996" actId="478"/>
          <ac:cxnSpMkLst>
            <pc:docMk/>
            <pc:sldMk cId="3988583854" sldId="374"/>
            <ac:cxnSpMk id="23" creationId="{0679D746-5681-4A49-8E1B-E45FC415AD22}"/>
          </ac:cxnSpMkLst>
        </pc:cxnChg>
      </pc:sldChg>
      <pc:sldChg chg="add">
        <pc:chgData name="David Stevens" userId="b6815b1ecc207c78" providerId="LiveId" clId="{7F06FEBE-BCFA-4FE5-84DD-C8C8E7FEAF16}" dt="2018-05-18T13:47:58.217" v="935" actId="403"/>
        <pc:sldMkLst>
          <pc:docMk/>
          <pc:sldMk cId="4245443267" sldId="464"/>
        </pc:sldMkLst>
      </pc:sldChg>
      <pc:sldChg chg="addSp delSp modSp add">
        <pc:chgData name="David Stevens" userId="b6815b1ecc207c78" providerId="LiveId" clId="{7F06FEBE-BCFA-4FE5-84DD-C8C8E7FEAF16}" dt="2018-05-18T14:24:28.599" v="1629" actId="403"/>
        <pc:sldMkLst>
          <pc:docMk/>
          <pc:sldMk cId="899099712" sldId="465"/>
        </pc:sldMkLst>
        <pc:spChg chg="mod">
          <ac:chgData name="David Stevens" userId="b6815b1ecc207c78" providerId="LiveId" clId="{7F06FEBE-BCFA-4FE5-84DD-C8C8E7FEAF16}" dt="2018-05-18T14:21:17.494" v="1529" actId="20577"/>
          <ac:spMkLst>
            <pc:docMk/>
            <pc:sldMk cId="899099712" sldId="465"/>
            <ac:spMk id="2" creationId="{E9FF4B68-EFC3-43EA-BBB6-95D56500B4E9}"/>
          </ac:spMkLst>
        </pc:spChg>
        <pc:spChg chg="add mod topLvl">
          <ac:chgData name="David Stevens" userId="b6815b1ecc207c78" providerId="LiveId" clId="{7F06FEBE-BCFA-4FE5-84DD-C8C8E7FEAF16}" dt="2018-05-18T14:19:27.945" v="1480" actId="164"/>
          <ac:spMkLst>
            <pc:docMk/>
            <pc:sldMk cId="899099712" sldId="465"/>
            <ac:spMk id="3" creationId="{7C698C53-62B3-4FDD-8FEB-F51538E18D28}"/>
          </ac:spMkLst>
        </pc:spChg>
        <pc:spChg chg="add mod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4" creationId="{AAD7ABE5-1B90-48A3-8C8B-2DB843F42456}"/>
          </ac:spMkLst>
        </pc:spChg>
        <pc:spChg chg="add mod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5" creationId="{1410D1A3-3423-43A1-A2F6-C1D1A240D8CE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8" creationId="{B87B35A7-8E71-481E-8563-9F4167DD1B29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9" creationId="{0D683C49-8648-4AFD-9A72-F91373EB3B25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11" creationId="{03FA5752-D8A6-4657-AAEE-5F7A540D218F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12" creationId="{1E715E24-534F-4820-9567-833635E37FEC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17" creationId="{ECBFC63C-C0F1-4E76-A963-649CE8F52CCD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18" creationId="{FC8F2E0A-F839-47B8-9816-8F97D0B206E2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19" creationId="{7E8D9512-B721-483B-A3A6-F0D7BC3635BF}"/>
          </ac:spMkLst>
        </pc:spChg>
        <pc:spChg chg="mod topLvl">
          <ac:chgData name="David Stevens" userId="b6815b1ecc207c78" providerId="LiveId" clId="{7F06FEBE-BCFA-4FE5-84DD-C8C8E7FEAF16}" dt="2018-05-18T14:18:08.874" v="1444" actId="404"/>
          <ac:spMkLst>
            <pc:docMk/>
            <pc:sldMk cId="899099712" sldId="465"/>
            <ac:spMk id="20" creationId="{A3D69536-D348-41C6-A166-59F174426699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3" creationId="{DF5AFEBA-B52C-48A0-B73A-90CF93B636AD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4" creationId="{4187731D-C67F-491B-82C0-228B9DC505AF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5" creationId="{1A94E4FB-37B7-4B2A-8AF5-6C1BA38FA251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6" creationId="{E48B1EB0-E808-4AC0-9452-BBC3D6AE66B5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7" creationId="{EB3D8480-F108-44FE-9369-D81D40C30CCF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8" creationId="{42ED5E89-C085-4CC7-B54C-6EC8F34A4AA0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29" creationId="{93A5E243-DC4A-414A-AD6C-9611DC5C1322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30" creationId="{ADB426CE-363C-4437-88F7-AFBEE56D6F3E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31" creationId="{679BA3B2-3148-40EA-A621-BD5FF2F54D1D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32" creationId="{ECACFD52-D056-4668-84C6-EF12B4BCD0C0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33" creationId="{5D2BD417-05D5-4C2E-8EFD-3A30C521CAC6}"/>
          </ac:spMkLst>
        </pc:spChg>
        <pc:spChg chg="add mod topLvl">
          <ac:chgData name="David Stevens" userId="b6815b1ecc207c78" providerId="LiveId" clId="{7F06FEBE-BCFA-4FE5-84DD-C8C8E7FEAF16}" dt="2018-05-18T14:19:53.704" v="1485" actId="1076"/>
          <ac:spMkLst>
            <pc:docMk/>
            <pc:sldMk cId="899099712" sldId="465"/>
            <ac:spMk id="34" creationId="{CBB9FFA2-02AF-46C1-9CC6-63574C9F29E6}"/>
          </ac:spMkLst>
        </pc:spChg>
        <pc:spChg chg="add mod">
          <ac:chgData name="David Stevens" userId="b6815b1ecc207c78" providerId="LiveId" clId="{7F06FEBE-BCFA-4FE5-84DD-C8C8E7FEAF16}" dt="2018-05-18T14:24:22.742" v="1622" actId="403"/>
          <ac:spMkLst>
            <pc:docMk/>
            <pc:sldMk cId="899099712" sldId="465"/>
            <ac:spMk id="37" creationId="{F5A400CF-6DC7-47E3-A3AD-A7F191D8F0D5}"/>
          </ac:spMkLst>
        </pc:spChg>
        <pc:spChg chg="add mod">
          <ac:chgData name="David Stevens" userId="b6815b1ecc207c78" providerId="LiveId" clId="{7F06FEBE-BCFA-4FE5-84DD-C8C8E7FEAF16}" dt="2018-05-18T14:24:25.616" v="1626" actId="403"/>
          <ac:spMkLst>
            <pc:docMk/>
            <pc:sldMk cId="899099712" sldId="465"/>
            <ac:spMk id="38" creationId="{885252DD-DD96-4E0B-8700-A2866889021F}"/>
          </ac:spMkLst>
        </pc:spChg>
        <pc:spChg chg="add mod">
          <ac:chgData name="David Stevens" userId="b6815b1ecc207c78" providerId="LiveId" clId="{7F06FEBE-BCFA-4FE5-84DD-C8C8E7FEAF16}" dt="2018-05-18T14:24:24.175" v="1624" actId="403"/>
          <ac:spMkLst>
            <pc:docMk/>
            <pc:sldMk cId="899099712" sldId="465"/>
            <ac:spMk id="39" creationId="{CFE7972C-1628-4C1B-AE77-8F4FFDEC5271}"/>
          </ac:spMkLst>
        </pc:spChg>
        <pc:spChg chg="add mod">
          <ac:chgData name="David Stevens" userId="b6815b1ecc207c78" providerId="LiveId" clId="{7F06FEBE-BCFA-4FE5-84DD-C8C8E7FEAF16}" dt="2018-05-18T14:24:28.599" v="1629" actId="403"/>
          <ac:spMkLst>
            <pc:docMk/>
            <pc:sldMk cId="899099712" sldId="465"/>
            <ac:spMk id="40" creationId="{23701272-8941-4179-A1C8-BA9AB70778BB}"/>
          </ac:spMkLst>
        </pc:spChg>
        <pc:spChg chg="add mod">
          <ac:chgData name="David Stevens" userId="b6815b1ecc207c78" providerId="LiveId" clId="{7F06FEBE-BCFA-4FE5-84DD-C8C8E7FEAF16}" dt="2018-05-18T14:24:26.784" v="1628" actId="403"/>
          <ac:spMkLst>
            <pc:docMk/>
            <pc:sldMk cId="899099712" sldId="465"/>
            <ac:spMk id="41" creationId="{4C47464E-2857-404D-A335-06E9BE343B05}"/>
          </ac:spMkLst>
        </pc:spChg>
        <pc:spChg chg="add mod">
          <ac:chgData name="David Stevens" userId="b6815b1ecc207c78" providerId="LiveId" clId="{7F06FEBE-BCFA-4FE5-84DD-C8C8E7FEAF16}" dt="2018-05-18T14:24:26.184" v="1627" actId="403"/>
          <ac:spMkLst>
            <pc:docMk/>
            <pc:sldMk cId="899099712" sldId="465"/>
            <ac:spMk id="42" creationId="{D01F94CD-723C-4ABA-926B-2D466DD4A5E3}"/>
          </ac:spMkLst>
        </pc:spChg>
        <pc:spChg chg="add mod">
          <ac:chgData name="David Stevens" userId="b6815b1ecc207c78" providerId="LiveId" clId="{7F06FEBE-BCFA-4FE5-84DD-C8C8E7FEAF16}" dt="2018-05-18T14:24:25.032" v="1625" actId="403"/>
          <ac:spMkLst>
            <pc:docMk/>
            <pc:sldMk cId="899099712" sldId="465"/>
            <ac:spMk id="43" creationId="{376231C5-A01E-4712-8602-F57FE74042AE}"/>
          </ac:spMkLst>
        </pc:spChg>
        <pc:spChg chg="add mod">
          <ac:chgData name="David Stevens" userId="b6815b1ecc207c78" providerId="LiveId" clId="{7F06FEBE-BCFA-4FE5-84DD-C8C8E7FEAF16}" dt="2018-05-18T14:24:23.536" v="1623" actId="403"/>
          <ac:spMkLst>
            <pc:docMk/>
            <pc:sldMk cId="899099712" sldId="465"/>
            <ac:spMk id="44" creationId="{4E257689-C7D0-41CD-AB3B-0EAE7E284EB1}"/>
          </ac:spMkLst>
        </pc:spChg>
        <pc:spChg chg="add del mod">
          <ac:chgData name="David Stevens" userId="b6815b1ecc207c78" providerId="LiveId" clId="{7F06FEBE-BCFA-4FE5-84DD-C8C8E7FEAF16}" dt="2018-05-18T14:21:43.370" v="1560" actId="478"/>
          <ac:spMkLst>
            <pc:docMk/>
            <pc:sldMk cId="899099712" sldId="465"/>
            <ac:spMk id="45" creationId="{05A356C1-174C-445F-BE39-DECFFC03F5FE}"/>
          </ac:spMkLst>
        </pc:spChg>
        <pc:grpChg chg="add mod topLvl">
          <ac:chgData name="David Stevens" userId="b6815b1ecc207c78" providerId="LiveId" clId="{7F06FEBE-BCFA-4FE5-84DD-C8C8E7FEAF16}" dt="2018-05-18T14:19:27.945" v="1480" actId="164"/>
          <ac:grpSpMkLst>
            <pc:docMk/>
            <pc:sldMk cId="899099712" sldId="465"/>
            <ac:grpSpMk id="6" creationId="{8FBD4A79-F1FB-494E-89D3-6D69D6D3ED28}"/>
          </ac:grpSpMkLst>
        </pc:grpChg>
        <pc:grpChg chg="add del mod topLvl">
          <ac:chgData name="David Stevens" userId="b6815b1ecc207c78" providerId="LiveId" clId="{7F06FEBE-BCFA-4FE5-84DD-C8C8E7FEAF16}" dt="2018-05-18T14:16:54.778" v="1405" actId="165"/>
          <ac:grpSpMkLst>
            <pc:docMk/>
            <pc:sldMk cId="899099712" sldId="465"/>
            <ac:grpSpMk id="7" creationId="{47ACF98B-8DB4-4343-9BDC-A15400F52ABB}"/>
          </ac:grpSpMkLst>
        </pc:grpChg>
        <pc:grpChg chg="add del mod topLvl">
          <ac:chgData name="David Stevens" userId="b6815b1ecc207c78" providerId="LiveId" clId="{7F06FEBE-BCFA-4FE5-84DD-C8C8E7FEAF16}" dt="2018-05-18T14:16:55.770" v="1406" actId="165"/>
          <ac:grpSpMkLst>
            <pc:docMk/>
            <pc:sldMk cId="899099712" sldId="465"/>
            <ac:grpSpMk id="10" creationId="{9EDCFA2A-6BBF-414E-90BD-6C4F1EEE6D4D}"/>
          </ac:grpSpMkLst>
        </pc:grpChg>
        <pc:grpChg chg="add del mod">
          <ac:chgData name="David Stevens" userId="b6815b1ecc207c78" providerId="LiveId" clId="{7F06FEBE-BCFA-4FE5-84DD-C8C8E7FEAF16}" dt="2018-05-18T14:16:52.977" v="1404" actId="165"/>
          <ac:grpSpMkLst>
            <pc:docMk/>
            <pc:sldMk cId="899099712" sldId="465"/>
            <ac:grpSpMk id="13" creationId="{05690BA6-9A88-4CE9-8747-7C424681CC20}"/>
          </ac:grpSpMkLst>
        </pc:grpChg>
        <pc:grpChg chg="add del mod">
          <ac:chgData name="David Stevens" userId="b6815b1ecc207c78" providerId="LiveId" clId="{7F06FEBE-BCFA-4FE5-84DD-C8C8E7FEAF16}" dt="2018-05-18T14:17:05.897" v="1409" actId="165"/>
          <ac:grpSpMkLst>
            <pc:docMk/>
            <pc:sldMk cId="899099712" sldId="465"/>
            <ac:grpSpMk id="14" creationId="{B16D41E2-B84A-4538-AC16-7327735071DE}"/>
          </ac:grpSpMkLst>
        </pc:grpChg>
        <pc:grpChg chg="del mod topLvl">
          <ac:chgData name="David Stevens" userId="b6815b1ecc207c78" providerId="LiveId" clId="{7F06FEBE-BCFA-4FE5-84DD-C8C8E7FEAF16}" dt="2018-05-18T14:17:07.362" v="1410" actId="165"/>
          <ac:grpSpMkLst>
            <pc:docMk/>
            <pc:sldMk cId="899099712" sldId="465"/>
            <ac:grpSpMk id="15" creationId="{76326B46-972B-4BBB-8DFE-AE71F6697068}"/>
          </ac:grpSpMkLst>
        </pc:grpChg>
        <pc:grpChg chg="del mod topLvl">
          <ac:chgData name="David Stevens" userId="b6815b1ecc207c78" providerId="LiveId" clId="{7F06FEBE-BCFA-4FE5-84DD-C8C8E7FEAF16}" dt="2018-05-18T14:17:07.874" v="1411" actId="165"/>
          <ac:grpSpMkLst>
            <pc:docMk/>
            <pc:sldMk cId="899099712" sldId="465"/>
            <ac:grpSpMk id="16" creationId="{E4D24D24-8E19-4D16-86D8-B27FED1E4F6C}"/>
          </ac:grpSpMkLst>
        </pc:grpChg>
        <pc:grpChg chg="add mod topLvl">
          <ac:chgData name="David Stevens" userId="b6815b1ecc207c78" providerId="LiveId" clId="{7F06FEBE-BCFA-4FE5-84DD-C8C8E7FEAF16}" dt="2018-05-18T14:19:27.945" v="1480" actId="164"/>
          <ac:grpSpMkLst>
            <pc:docMk/>
            <pc:sldMk cId="899099712" sldId="465"/>
            <ac:grpSpMk id="21" creationId="{9E59FC8A-D480-423F-822A-F6F656247042}"/>
          </ac:grpSpMkLst>
        </pc:grpChg>
        <pc:grpChg chg="add mod topLvl">
          <ac:chgData name="David Stevens" userId="b6815b1ecc207c78" providerId="LiveId" clId="{7F06FEBE-BCFA-4FE5-84DD-C8C8E7FEAF16}" dt="2018-05-18T14:19:27.945" v="1480" actId="164"/>
          <ac:grpSpMkLst>
            <pc:docMk/>
            <pc:sldMk cId="899099712" sldId="465"/>
            <ac:grpSpMk id="22" creationId="{291D2370-0217-44AF-B76A-602B3D00D61F}"/>
          </ac:grpSpMkLst>
        </pc:grpChg>
        <pc:grpChg chg="add del mod">
          <ac:chgData name="David Stevens" userId="b6815b1ecc207c78" providerId="LiveId" clId="{7F06FEBE-BCFA-4FE5-84DD-C8C8E7FEAF16}" dt="2018-05-18T14:18:11.690" v="1445" actId="165"/>
          <ac:grpSpMkLst>
            <pc:docMk/>
            <pc:sldMk cId="899099712" sldId="465"/>
            <ac:grpSpMk id="35" creationId="{F261FC81-CE2E-4845-80A5-1F334A596F0A}"/>
          </ac:grpSpMkLst>
        </pc:grpChg>
        <pc:grpChg chg="add mod">
          <ac:chgData name="David Stevens" userId="b6815b1ecc207c78" providerId="LiveId" clId="{7F06FEBE-BCFA-4FE5-84DD-C8C8E7FEAF16}" dt="2018-05-18T14:19:33.824" v="1481" actId="14100"/>
          <ac:grpSpMkLst>
            <pc:docMk/>
            <pc:sldMk cId="899099712" sldId="465"/>
            <ac:grpSpMk id="36" creationId="{E22C63ED-EF9B-4E53-A4C9-8D9CBC10A4A4}"/>
          </ac:grpSpMkLst>
        </pc:grpChg>
      </pc:sldChg>
      <pc:sldChg chg="addSp delSp modSp add">
        <pc:chgData name="David Stevens" userId="b6815b1ecc207c78" providerId="LiveId" clId="{7F06FEBE-BCFA-4FE5-84DD-C8C8E7FEAF16}" dt="2018-05-18T14:30:21.135" v="1930" actId="14100"/>
        <pc:sldMkLst>
          <pc:docMk/>
          <pc:sldMk cId="561734611" sldId="466"/>
        </pc:sldMkLst>
        <pc:spChg chg="mod">
          <ac:chgData name="David Stevens" userId="b6815b1ecc207c78" providerId="LiveId" clId="{7F06FEBE-BCFA-4FE5-84DD-C8C8E7FEAF16}" dt="2018-05-18T14:29:53.542" v="1923" actId="20577"/>
          <ac:spMkLst>
            <pc:docMk/>
            <pc:sldMk cId="561734611" sldId="466"/>
            <ac:spMk id="2" creationId="{E9FF4B68-EFC3-43EA-BBB6-95D56500B4E9}"/>
          </ac:spMkLst>
        </pc:spChg>
        <pc:spChg chg="mod topLvl">
          <ac:chgData name="David Stevens" userId="b6815b1ecc207c78" providerId="LiveId" clId="{7F06FEBE-BCFA-4FE5-84DD-C8C8E7FEAF16}" dt="2018-05-18T14:26:02.386" v="1699" actId="165"/>
          <ac:spMkLst>
            <pc:docMk/>
            <pc:sldMk cId="561734611" sldId="466"/>
            <ac:spMk id="3" creationId="{7C698C53-62B3-4FDD-8FEB-F51538E18D28}"/>
          </ac:spMkLst>
        </pc:spChg>
        <pc:spChg chg="mod">
          <ac:chgData name="David Stevens" userId="b6815b1ecc207c78" providerId="LiveId" clId="{7F06FEBE-BCFA-4FE5-84DD-C8C8E7FEAF16}" dt="2018-05-18T14:24:57.654" v="1672" actId="313"/>
          <ac:spMkLst>
            <pc:docMk/>
            <pc:sldMk cId="561734611" sldId="466"/>
            <ac:spMk id="4" creationId="{AAD7ABE5-1B90-48A3-8C8B-2DB843F42456}"/>
          </ac:spMkLst>
        </pc:spChg>
        <pc:spChg chg="mod">
          <ac:chgData name="David Stevens" userId="b6815b1ecc207c78" providerId="LiveId" clId="{7F06FEBE-BCFA-4FE5-84DD-C8C8E7FEAF16}" dt="2018-05-18T14:24:44.488" v="1662" actId="20577"/>
          <ac:spMkLst>
            <pc:docMk/>
            <pc:sldMk cId="561734611" sldId="466"/>
            <ac:spMk id="5" creationId="{1410D1A3-3423-43A1-A2F6-C1D1A240D8CE}"/>
          </ac:spMkLst>
        </pc:spChg>
        <pc:spChg chg="mod topLvl">
          <ac:chgData name="David Stevens" userId="b6815b1ecc207c78" providerId="LiveId" clId="{7F06FEBE-BCFA-4FE5-84DD-C8C8E7FEAF16}" dt="2018-05-18T14:28:58.981" v="1856" actId="20577"/>
          <ac:spMkLst>
            <pc:docMk/>
            <pc:sldMk cId="561734611" sldId="466"/>
            <ac:spMk id="8" creationId="{B87B35A7-8E71-481E-8563-9F4167DD1B29}"/>
          </ac:spMkLst>
        </pc:spChg>
        <pc:spChg chg="mod topLvl">
          <ac:chgData name="David Stevens" userId="b6815b1ecc207c78" providerId="LiveId" clId="{7F06FEBE-BCFA-4FE5-84DD-C8C8E7FEAF16}" dt="2018-05-18T14:28:55.161" v="1844" actId="14100"/>
          <ac:spMkLst>
            <pc:docMk/>
            <pc:sldMk cId="561734611" sldId="466"/>
            <ac:spMk id="9" creationId="{0D683C49-8648-4AFD-9A72-F91373EB3B25}"/>
          </ac:spMkLst>
        </pc:spChg>
        <pc:spChg chg="mod topLvl">
          <ac:chgData name="David Stevens" userId="b6815b1ecc207c78" providerId="LiveId" clId="{7F06FEBE-BCFA-4FE5-84DD-C8C8E7FEAF16}" dt="2018-05-18T14:29:20.446" v="1899" actId="404"/>
          <ac:spMkLst>
            <pc:docMk/>
            <pc:sldMk cId="561734611" sldId="466"/>
            <ac:spMk id="11" creationId="{03FA5752-D8A6-4657-AAEE-5F7A540D218F}"/>
          </ac:spMkLst>
        </pc:spChg>
        <pc:spChg chg="mod topLvl">
          <ac:chgData name="David Stevens" userId="b6815b1ecc207c78" providerId="LiveId" clId="{7F06FEBE-BCFA-4FE5-84DD-C8C8E7FEAF16}" dt="2018-05-18T14:29:09.104" v="1878" actId="404"/>
          <ac:spMkLst>
            <pc:docMk/>
            <pc:sldMk cId="561734611" sldId="466"/>
            <ac:spMk id="12" creationId="{1E715E24-534F-4820-9567-833635E37FEC}"/>
          </ac:spMkLst>
        </pc:spChg>
        <pc:spChg chg="mod topLvl">
          <ac:chgData name="David Stevens" userId="b6815b1ecc207c78" providerId="LiveId" clId="{7F06FEBE-BCFA-4FE5-84DD-C8C8E7FEAF16}" dt="2018-05-18T14:29:59.199" v="1925" actId="404"/>
          <ac:spMkLst>
            <pc:docMk/>
            <pc:sldMk cId="561734611" sldId="466"/>
            <ac:spMk id="17" creationId="{ECBFC63C-C0F1-4E76-A963-649CE8F52CCD}"/>
          </ac:spMkLst>
        </pc:spChg>
        <pc:spChg chg="mod topLvl">
          <ac:chgData name="David Stevens" userId="b6815b1ecc207c78" providerId="LiveId" clId="{7F06FEBE-BCFA-4FE5-84DD-C8C8E7FEAF16}" dt="2018-05-18T14:30:04.559" v="1928" actId="404"/>
          <ac:spMkLst>
            <pc:docMk/>
            <pc:sldMk cId="561734611" sldId="466"/>
            <ac:spMk id="18" creationId="{FC8F2E0A-F839-47B8-9816-8F97D0B206E2}"/>
          </ac:spMkLst>
        </pc:spChg>
        <pc:spChg chg="mod topLvl">
          <ac:chgData name="David Stevens" userId="b6815b1ecc207c78" providerId="LiveId" clId="{7F06FEBE-BCFA-4FE5-84DD-C8C8E7FEAF16}" dt="2018-05-18T14:29:45.416" v="1909" actId="14100"/>
          <ac:spMkLst>
            <pc:docMk/>
            <pc:sldMk cId="561734611" sldId="466"/>
            <ac:spMk id="19" creationId="{7E8D9512-B721-483B-A3A6-F0D7BC3635BF}"/>
          </ac:spMkLst>
        </pc:spChg>
        <pc:spChg chg="mod topLvl">
          <ac:chgData name="David Stevens" userId="b6815b1ecc207c78" providerId="LiveId" clId="{7F06FEBE-BCFA-4FE5-84DD-C8C8E7FEAF16}" dt="2018-05-18T14:29:48.601" v="1910" actId="14100"/>
          <ac:spMkLst>
            <pc:docMk/>
            <pc:sldMk cId="561734611" sldId="466"/>
            <ac:spMk id="20" creationId="{A3D69536-D348-41C6-A166-59F174426699}"/>
          </ac:spMkLst>
        </pc:spChg>
        <pc:spChg chg="mod ord topLvl">
          <ac:chgData name="David Stevens" userId="b6815b1ecc207c78" providerId="LiveId" clId="{7F06FEBE-BCFA-4FE5-84DD-C8C8E7FEAF16}" dt="2018-05-18T14:26:10.487" v="1725" actId="1076"/>
          <ac:spMkLst>
            <pc:docMk/>
            <pc:sldMk cId="561734611" sldId="466"/>
            <ac:spMk id="23" creationId="{DF5AFEBA-B52C-48A0-B73A-90CF93B636AD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24" creationId="{4187731D-C67F-491B-82C0-228B9DC505AF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25" creationId="{1A94E4FB-37B7-4B2A-8AF5-6C1BA38FA251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26" creationId="{E48B1EB0-E808-4AC0-9452-BBC3D6AE66B5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27" creationId="{EB3D8480-F108-44FE-9369-D81D40C30CCF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28" creationId="{42ED5E89-C085-4CC7-B54C-6EC8F34A4AA0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29" creationId="{93A5E243-DC4A-414A-AD6C-9611DC5C1322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30" creationId="{ADB426CE-363C-4437-88F7-AFBEE56D6F3E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31" creationId="{679BA3B2-3148-40EA-A621-BD5FF2F54D1D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32" creationId="{ECACFD52-D056-4668-84C6-EF12B4BCD0C0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33" creationId="{5D2BD417-05D5-4C2E-8EFD-3A30C521CAC6}"/>
          </ac:spMkLst>
        </pc:spChg>
        <pc:spChg chg="del">
          <ac:chgData name="David Stevens" userId="b6815b1ecc207c78" providerId="LiveId" clId="{7F06FEBE-BCFA-4FE5-84DD-C8C8E7FEAF16}" dt="2018-05-18T14:22:16.169" v="1562" actId="478"/>
          <ac:spMkLst>
            <pc:docMk/>
            <pc:sldMk cId="561734611" sldId="466"/>
            <ac:spMk id="34" creationId="{CBB9FFA2-02AF-46C1-9CC6-63574C9F29E6}"/>
          </ac:spMkLst>
        </pc:spChg>
        <pc:spChg chg="mod ord topLvl">
          <ac:chgData name="David Stevens" userId="b6815b1ecc207c78" providerId="LiveId" clId="{7F06FEBE-BCFA-4FE5-84DD-C8C8E7FEAF16}" dt="2018-05-18T14:30:12.827" v="1929" actId="12789"/>
          <ac:spMkLst>
            <pc:docMk/>
            <pc:sldMk cId="561734611" sldId="466"/>
            <ac:spMk id="37" creationId="{F5A400CF-6DC7-47E3-A3AD-A7F191D8F0D5}"/>
          </ac:spMkLst>
        </pc:spChg>
        <pc:spChg chg="del">
          <ac:chgData name="David Stevens" userId="b6815b1ecc207c78" providerId="LiveId" clId="{7F06FEBE-BCFA-4FE5-84DD-C8C8E7FEAF16}" dt="2018-05-18T14:22:48.553" v="1579" actId="478"/>
          <ac:spMkLst>
            <pc:docMk/>
            <pc:sldMk cId="561734611" sldId="466"/>
            <ac:spMk id="38" creationId="{885252DD-DD96-4E0B-8700-A2866889021F}"/>
          </ac:spMkLst>
        </pc:spChg>
        <pc:spChg chg="mod ord topLvl">
          <ac:chgData name="David Stevens" userId="b6815b1ecc207c78" providerId="LiveId" clId="{7F06FEBE-BCFA-4FE5-84DD-C8C8E7FEAF16}" dt="2018-05-18T14:30:12.827" v="1929" actId="12789"/>
          <ac:spMkLst>
            <pc:docMk/>
            <pc:sldMk cId="561734611" sldId="466"/>
            <ac:spMk id="39" creationId="{CFE7972C-1628-4C1B-AE77-8F4FFDEC5271}"/>
          </ac:spMkLst>
        </pc:spChg>
        <pc:spChg chg="del">
          <ac:chgData name="David Stevens" userId="b6815b1ecc207c78" providerId="LiveId" clId="{7F06FEBE-BCFA-4FE5-84DD-C8C8E7FEAF16}" dt="2018-05-18T14:22:46.769" v="1578" actId="478"/>
          <ac:spMkLst>
            <pc:docMk/>
            <pc:sldMk cId="561734611" sldId="466"/>
            <ac:spMk id="40" creationId="{23701272-8941-4179-A1C8-BA9AB70778BB}"/>
          </ac:spMkLst>
        </pc:spChg>
        <pc:spChg chg="mod ord topLvl">
          <ac:chgData name="David Stevens" userId="b6815b1ecc207c78" providerId="LiveId" clId="{7F06FEBE-BCFA-4FE5-84DD-C8C8E7FEAF16}" dt="2018-05-18T14:30:12.827" v="1929" actId="12789"/>
          <ac:spMkLst>
            <pc:docMk/>
            <pc:sldMk cId="561734611" sldId="466"/>
            <ac:spMk id="41" creationId="{4C47464E-2857-404D-A335-06E9BE343B05}"/>
          </ac:spMkLst>
        </pc:spChg>
        <pc:spChg chg="mod ord topLvl">
          <ac:chgData name="David Stevens" userId="b6815b1ecc207c78" providerId="LiveId" clId="{7F06FEBE-BCFA-4FE5-84DD-C8C8E7FEAF16}" dt="2018-05-18T14:30:12.827" v="1929" actId="12789"/>
          <ac:spMkLst>
            <pc:docMk/>
            <pc:sldMk cId="561734611" sldId="466"/>
            <ac:spMk id="42" creationId="{D01F94CD-723C-4ABA-926B-2D466DD4A5E3}"/>
          </ac:spMkLst>
        </pc:spChg>
        <pc:spChg chg="del">
          <ac:chgData name="David Stevens" userId="b6815b1ecc207c78" providerId="LiveId" clId="{7F06FEBE-BCFA-4FE5-84DD-C8C8E7FEAF16}" dt="2018-05-18T14:22:49.344" v="1580" actId="478"/>
          <ac:spMkLst>
            <pc:docMk/>
            <pc:sldMk cId="561734611" sldId="466"/>
            <ac:spMk id="43" creationId="{376231C5-A01E-4712-8602-F57FE74042AE}"/>
          </ac:spMkLst>
        </pc:spChg>
        <pc:spChg chg="del">
          <ac:chgData name="David Stevens" userId="b6815b1ecc207c78" providerId="LiveId" clId="{7F06FEBE-BCFA-4FE5-84DD-C8C8E7FEAF16}" dt="2018-05-18T14:22:35.888" v="1571" actId="478"/>
          <ac:spMkLst>
            <pc:docMk/>
            <pc:sldMk cId="561734611" sldId="466"/>
            <ac:spMk id="44" creationId="{4E257689-C7D0-41CD-AB3B-0EAE7E284EB1}"/>
          </ac:spMkLst>
        </pc:spChg>
        <pc:spChg chg="add mod topLvl">
          <ac:chgData name="David Stevens" userId="b6815b1ecc207c78" providerId="LiveId" clId="{7F06FEBE-BCFA-4FE5-84DD-C8C8E7FEAF16}" dt="2018-05-18T14:30:21.135" v="1930" actId="14100"/>
          <ac:spMkLst>
            <pc:docMk/>
            <pc:sldMk cId="561734611" sldId="466"/>
            <ac:spMk id="71" creationId="{5E5C383E-1A26-4660-B835-5DFCFB16BBCE}"/>
          </ac:spMkLst>
        </pc:spChg>
        <pc:spChg chg="add del mod">
          <ac:chgData name="David Stevens" userId="b6815b1ecc207c78" providerId="LiveId" clId="{7F06FEBE-BCFA-4FE5-84DD-C8C8E7FEAF16}" dt="2018-05-18T14:25:17.183" v="1686" actId="14100"/>
          <ac:spMkLst>
            <pc:docMk/>
            <pc:sldMk cId="561734611" sldId="466"/>
            <ac:spMk id="72" creationId="{834C10AB-8A51-438C-9AD3-181D6E24E6CB}"/>
          </ac:spMkLst>
        </pc:spChg>
        <pc:spChg chg="add mod topLvl">
          <ac:chgData name="David Stevens" userId="b6815b1ecc207c78" providerId="LiveId" clId="{7F06FEBE-BCFA-4FE5-84DD-C8C8E7FEAF16}" dt="2018-05-18T14:28:08.672" v="1763" actId="20577"/>
          <ac:spMkLst>
            <pc:docMk/>
            <pc:sldMk cId="561734611" sldId="466"/>
            <ac:spMk id="73" creationId="{F7DF34A1-BCFF-4046-AA4F-3E2258FB88B7}"/>
          </ac:spMkLst>
        </pc:spChg>
        <pc:spChg chg="mod">
          <ac:chgData name="David Stevens" userId="b6815b1ecc207c78" providerId="LiveId" clId="{7F06FEBE-BCFA-4FE5-84DD-C8C8E7FEAF16}" dt="2018-05-18T14:28:31.106" v="1810" actId="404"/>
          <ac:spMkLst>
            <pc:docMk/>
            <pc:sldMk cId="561734611" sldId="466"/>
            <ac:spMk id="75" creationId="{E2FD28F2-E36F-4255-A0DD-166BA1D34718}"/>
          </ac:spMkLst>
        </pc:spChg>
        <pc:spChg chg="mod">
          <ac:chgData name="David Stevens" userId="b6815b1ecc207c78" providerId="LiveId" clId="{7F06FEBE-BCFA-4FE5-84DD-C8C8E7FEAF16}" dt="2018-05-18T14:28:18.175" v="1783" actId="20577"/>
          <ac:spMkLst>
            <pc:docMk/>
            <pc:sldMk cId="561734611" sldId="466"/>
            <ac:spMk id="76" creationId="{C1399017-5F2C-4CE8-9874-7EB45E64C5C0}"/>
          </ac:spMkLst>
        </pc:spChg>
        <pc:spChg chg="mod">
          <ac:chgData name="David Stevens" userId="b6815b1ecc207c78" providerId="LiveId" clId="{7F06FEBE-BCFA-4FE5-84DD-C8C8E7FEAF16}" dt="2018-05-18T14:28:43.116" v="1843" actId="20577"/>
          <ac:spMkLst>
            <pc:docMk/>
            <pc:sldMk cId="561734611" sldId="466"/>
            <ac:spMk id="77" creationId="{83927D68-46C3-4127-8494-FA89173A7003}"/>
          </ac:spMkLst>
        </pc:spChg>
        <pc:spChg chg="mod">
          <ac:chgData name="David Stevens" userId="b6815b1ecc207c78" providerId="LiveId" clId="{7F06FEBE-BCFA-4FE5-84DD-C8C8E7FEAF16}" dt="2018-05-18T14:28:37.510" v="1828" actId="20577"/>
          <ac:spMkLst>
            <pc:docMk/>
            <pc:sldMk cId="561734611" sldId="466"/>
            <ac:spMk id="78" creationId="{67244308-D4FA-4DF1-82ED-2E506AC7E3EA}"/>
          </ac:spMkLst>
        </pc:spChg>
        <pc:spChg chg="add del mod">
          <ac:chgData name="David Stevens" userId="b6815b1ecc207c78" providerId="LiveId" clId="{7F06FEBE-BCFA-4FE5-84DD-C8C8E7FEAF16}" dt="2018-05-18T14:29:31.440" v="1905" actId="14100"/>
          <ac:spMkLst>
            <pc:docMk/>
            <pc:sldMk cId="561734611" sldId="466"/>
            <ac:spMk id="97" creationId="{01840FF9-F3D3-404C-BB68-B7AD004071AD}"/>
          </ac:spMkLst>
        </pc:spChg>
        <pc:spChg chg="add del">
          <ac:chgData name="David Stevens" userId="b6815b1ecc207c78" providerId="LiveId" clId="{7F06FEBE-BCFA-4FE5-84DD-C8C8E7FEAF16}" dt="2018-05-18T14:29:30.606" v="1903" actId="14100"/>
          <ac:spMkLst>
            <pc:docMk/>
            <pc:sldMk cId="561734611" sldId="466"/>
            <ac:spMk id="98" creationId="{47D15F24-E784-4D3B-90CC-926FA2F7F6DF}"/>
          </ac:spMkLst>
        </pc:spChg>
        <pc:grpChg chg="mod topLvl">
          <ac:chgData name="David Stevens" userId="b6815b1ecc207c78" providerId="LiveId" clId="{7F06FEBE-BCFA-4FE5-84DD-C8C8E7FEAF16}" dt="2018-05-18T14:26:02.386" v="1699" actId="165"/>
          <ac:grpSpMkLst>
            <pc:docMk/>
            <pc:sldMk cId="561734611" sldId="466"/>
            <ac:grpSpMk id="6" creationId="{8FBD4A79-F1FB-494E-89D3-6D69D6D3ED28}"/>
          </ac:grpSpMkLst>
        </pc:grpChg>
        <pc:grpChg chg="del mod topLvl">
          <ac:chgData name="David Stevens" userId="b6815b1ecc207c78" providerId="LiveId" clId="{7F06FEBE-BCFA-4FE5-84DD-C8C8E7FEAF16}" dt="2018-05-18T14:26:44.024" v="1736" actId="165"/>
          <ac:grpSpMkLst>
            <pc:docMk/>
            <pc:sldMk cId="561734611" sldId="466"/>
            <ac:grpSpMk id="21" creationId="{9E59FC8A-D480-423F-822A-F6F656247042}"/>
          </ac:grpSpMkLst>
        </pc:grpChg>
        <pc:grpChg chg="del mod topLvl">
          <ac:chgData name="David Stevens" userId="b6815b1ecc207c78" providerId="LiveId" clId="{7F06FEBE-BCFA-4FE5-84DD-C8C8E7FEAF16}" dt="2018-05-18T14:29:33.643" v="1906" actId="165"/>
          <ac:grpSpMkLst>
            <pc:docMk/>
            <pc:sldMk cId="561734611" sldId="466"/>
            <ac:grpSpMk id="22" creationId="{291D2370-0217-44AF-B76A-602B3D00D61F}"/>
          </ac:grpSpMkLst>
        </pc:grpChg>
        <pc:grpChg chg="del mod">
          <ac:chgData name="David Stevens" userId="b6815b1ecc207c78" providerId="LiveId" clId="{7F06FEBE-BCFA-4FE5-84DD-C8C8E7FEAF16}" dt="2018-05-18T14:25:04.905" v="1677" actId="165"/>
          <ac:grpSpMkLst>
            <pc:docMk/>
            <pc:sldMk cId="561734611" sldId="466"/>
            <ac:grpSpMk id="36" creationId="{E22C63ED-EF9B-4E53-A4C9-8D9CBC10A4A4}"/>
          </ac:grpSpMkLst>
        </pc:grpChg>
        <pc:grpChg chg="add mod topLvl">
          <ac:chgData name="David Stevens" userId="b6815b1ecc207c78" providerId="LiveId" clId="{7F06FEBE-BCFA-4FE5-84DD-C8C8E7FEAF16}" dt="2018-05-18T14:26:27.361" v="1732" actId="12789"/>
          <ac:grpSpMkLst>
            <pc:docMk/>
            <pc:sldMk cId="561734611" sldId="466"/>
            <ac:grpSpMk id="74" creationId="{FC903849-1210-42B9-BEDD-C6A15FD3F19E}"/>
          </ac:grpSpMkLst>
        </pc:grpChg>
        <pc:grpChg chg="add del mod">
          <ac:chgData name="David Stevens" userId="b6815b1ecc207c78" providerId="LiveId" clId="{7F06FEBE-BCFA-4FE5-84DD-C8C8E7FEAF16}" dt="2018-05-18T14:26:02.386" v="1699" actId="165"/>
          <ac:grpSpMkLst>
            <pc:docMk/>
            <pc:sldMk cId="561734611" sldId="466"/>
            <ac:grpSpMk id="82" creationId="{9F5F185D-FDD4-4529-8697-4FDADCD8B2D0}"/>
          </ac:grpSpMkLst>
        </pc:grpChg>
        <pc:cxnChg chg="add mod topLvl">
          <ac:chgData name="David Stevens" userId="b6815b1ecc207c78" providerId="LiveId" clId="{7F06FEBE-BCFA-4FE5-84DD-C8C8E7FEAF16}" dt="2018-05-18T14:27:18.783" v="1745" actId="14100"/>
          <ac:cxnSpMkLst>
            <pc:docMk/>
            <pc:sldMk cId="561734611" sldId="466"/>
            <ac:cxnSpMk id="10" creationId="{55C8D1F0-B05D-482A-B279-261B328A7A2B}"/>
          </ac:cxnSpMkLst>
        </pc:cxnChg>
        <pc:cxnChg chg="add mod topLvl">
          <ac:chgData name="David Stevens" userId="b6815b1ecc207c78" providerId="LiveId" clId="{7F06FEBE-BCFA-4FE5-84DD-C8C8E7FEAF16}" dt="2018-05-18T14:30:12.827" v="1929" actId="12789"/>
          <ac:cxnSpMkLst>
            <pc:docMk/>
            <pc:sldMk cId="561734611" sldId="466"/>
            <ac:cxnSpMk id="45" creationId="{C71816A1-96B4-4980-8915-8380106D0C54}"/>
          </ac:cxnSpMkLst>
        </pc:cxnChg>
        <pc:cxnChg chg="add mod topLvl">
          <ac:chgData name="David Stevens" userId="b6815b1ecc207c78" providerId="LiveId" clId="{7F06FEBE-BCFA-4FE5-84DD-C8C8E7FEAF16}" dt="2018-05-18T14:27:16.095" v="1744" actId="14100"/>
          <ac:cxnSpMkLst>
            <pc:docMk/>
            <pc:sldMk cId="561734611" sldId="466"/>
            <ac:cxnSpMk id="46" creationId="{A8795A3A-0B90-4EFC-8949-ACF7F61BCEA7}"/>
          </ac:cxnSpMkLst>
        </pc:cxnChg>
        <pc:cxnChg chg="add mod topLvl">
          <ac:chgData name="David Stevens" userId="b6815b1ecc207c78" providerId="LiveId" clId="{7F06FEBE-BCFA-4FE5-84DD-C8C8E7FEAF16}" dt="2018-05-18T14:27:13.375" v="1743" actId="14100"/>
          <ac:cxnSpMkLst>
            <pc:docMk/>
            <pc:sldMk cId="561734611" sldId="466"/>
            <ac:cxnSpMk id="47" creationId="{90CA296C-9CA2-414E-80AF-B10FE6EBB396}"/>
          </ac:cxnSpMkLst>
        </pc:cxnChg>
        <pc:cxnChg chg="add mod topLvl">
          <ac:chgData name="David Stevens" userId="b6815b1ecc207c78" providerId="LiveId" clId="{7F06FEBE-BCFA-4FE5-84DD-C8C8E7FEAF16}" dt="2018-05-18T14:27:11.248" v="1742" actId="14100"/>
          <ac:cxnSpMkLst>
            <pc:docMk/>
            <pc:sldMk cId="561734611" sldId="466"/>
            <ac:cxnSpMk id="49" creationId="{972F48DB-8D85-406D-9109-799DC20E2D5E}"/>
          </ac:cxnSpMkLst>
        </pc:cxnChg>
        <pc:cxnChg chg="add mod topLvl">
          <ac:chgData name="David Stevens" userId="b6815b1ecc207c78" providerId="LiveId" clId="{7F06FEBE-BCFA-4FE5-84DD-C8C8E7FEAF16}" dt="2018-05-18T14:30:12.827" v="1929" actId="12789"/>
          <ac:cxnSpMkLst>
            <pc:docMk/>
            <pc:sldMk cId="561734611" sldId="466"/>
            <ac:cxnSpMk id="52" creationId="{1C2904F0-FB5D-4E26-BF7F-11982BCF831A}"/>
          </ac:cxnSpMkLst>
        </pc:cxnChg>
        <pc:cxnChg chg="add mod topLvl">
          <ac:chgData name="David Stevens" userId="b6815b1ecc207c78" providerId="LiveId" clId="{7F06FEBE-BCFA-4FE5-84DD-C8C8E7FEAF16}" dt="2018-05-18T14:30:12.827" v="1929" actId="12789"/>
          <ac:cxnSpMkLst>
            <pc:docMk/>
            <pc:sldMk cId="561734611" sldId="466"/>
            <ac:cxnSpMk id="56" creationId="{3203C32B-168E-406C-87F0-4B846386F0C3}"/>
          </ac:cxnSpMkLst>
        </pc:cxnChg>
        <pc:cxnChg chg="add mod topLvl">
          <ac:chgData name="David Stevens" userId="b6815b1ecc207c78" providerId="LiveId" clId="{7F06FEBE-BCFA-4FE5-84DD-C8C8E7FEAF16}" dt="2018-05-18T14:30:12.827" v="1929" actId="12789"/>
          <ac:cxnSpMkLst>
            <pc:docMk/>
            <pc:sldMk cId="561734611" sldId="466"/>
            <ac:cxnSpMk id="60" creationId="{DBCAA286-0AD3-4A00-A19F-A20AD3720908}"/>
          </ac:cxnSpMkLst>
        </pc:cxnChg>
      </pc:sldChg>
      <pc:sldChg chg="addSp modSp add modAnim">
        <pc:chgData name="David Stevens" userId="b6815b1ecc207c78" providerId="LiveId" clId="{7F06FEBE-BCFA-4FE5-84DD-C8C8E7FEAF16}" dt="2018-05-18T14:40:01.502" v="2131" actId="1035"/>
        <pc:sldMkLst>
          <pc:docMk/>
          <pc:sldMk cId="2312315894" sldId="468"/>
        </pc:sldMkLst>
        <pc:spChg chg="mod">
          <ac:chgData name="David Stevens" userId="b6815b1ecc207c78" providerId="LiveId" clId="{7F06FEBE-BCFA-4FE5-84DD-C8C8E7FEAF16}" dt="2018-05-18T14:34:31.255" v="2072" actId="1035"/>
          <ac:spMkLst>
            <pc:docMk/>
            <pc:sldMk cId="2312315894" sldId="468"/>
            <ac:spMk id="2" creationId="{E9FF4B68-EFC3-43EA-BBB6-95D56500B4E9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3" creationId="{7C698C53-62B3-4FDD-8FEB-F51538E18D28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8" creationId="{B87B35A7-8E71-481E-8563-9F4167DD1B29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9" creationId="{0D683C49-8648-4AFD-9A72-F91373EB3B25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11" creationId="{03FA5752-D8A6-4657-AAEE-5F7A540D218F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12" creationId="{1E715E24-534F-4820-9567-833635E37FEC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17" creationId="{ECBFC63C-C0F1-4E76-A963-649CE8F52CCD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18" creationId="{FC8F2E0A-F839-47B8-9816-8F97D0B206E2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19" creationId="{7E8D9512-B721-483B-A3A6-F0D7BC3635BF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20" creationId="{A3D69536-D348-41C6-A166-59F174426699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23" creationId="{DF5AFEBA-B52C-48A0-B73A-90CF93B636AD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37" creationId="{F5A400CF-6DC7-47E3-A3AD-A7F191D8F0D5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39" creationId="{CFE7972C-1628-4C1B-AE77-8F4FFDEC5271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41" creationId="{4C47464E-2857-404D-A335-06E9BE343B05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42" creationId="{D01F94CD-723C-4ABA-926B-2D466DD4A5E3}"/>
          </ac:spMkLst>
        </pc:spChg>
        <pc:spChg chg="add mod">
          <ac:chgData name="David Stevens" userId="b6815b1ecc207c78" providerId="LiveId" clId="{7F06FEBE-BCFA-4FE5-84DD-C8C8E7FEAF16}" dt="2018-05-18T14:37:30.794" v="2116" actId="164"/>
          <ac:spMkLst>
            <pc:docMk/>
            <pc:sldMk cId="2312315894" sldId="468"/>
            <ac:spMk id="54" creationId="{4244A04E-A0D1-4B56-A149-4A4683DC52B7}"/>
          </ac:spMkLst>
        </pc:spChg>
        <pc:spChg chg="add mod">
          <ac:chgData name="David Stevens" userId="b6815b1ecc207c78" providerId="LiveId" clId="{7F06FEBE-BCFA-4FE5-84DD-C8C8E7FEAF16}" dt="2018-05-18T14:40:01.502" v="2131" actId="1035"/>
          <ac:spMkLst>
            <pc:docMk/>
            <pc:sldMk cId="2312315894" sldId="468"/>
            <ac:spMk id="55" creationId="{9681260F-DBC9-4CAA-B46D-9FBB35CAC1FB}"/>
          </ac:spMkLst>
        </pc:spChg>
        <pc:spChg chg="add mod">
          <ac:chgData name="David Stevens" userId="b6815b1ecc207c78" providerId="LiveId" clId="{7F06FEBE-BCFA-4FE5-84DD-C8C8E7FEAF16}" dt="2018-05-18T14:40:01.502" v="2131" actId="1035"/>
          <ac:spMkLst>
            <pc:docMk/>
            <pc:sldMk cId="2312315894" sldId="468"/>
            <ac:spMk id="57" creationId="{6B1204D9-EC29-48D8-AC7B-727E722A472B}"/>
          </ac:spMkLst>
        </pc:spChg>
        <pc:spChg chg="add mod">
          <ac:chgData name="David Stevens" userId="b6815b1ecc207c78" providerId="LiveId" clId="{7F06FEBE-BCFA-4FE5-84DD-C8C8E7FEAF16}" dt="2018-05-18T14:37:30.794" v="2116" actId="164"/>
          <ac:spMkLst>
            <pc:docMk/>
            <pc:sldMk cId="2312315894" sldId="468"/>
            <ac:spMk id="58" creationId="{E7189F87-66DE-40E7-8D51-96C387D1915C}"/>
          </ac:spMkLst>
        </pc:spChg>
        <pc:spChg chg="add mod">
          <ac:chgData name="David Stevens" userId="b6815b1ecc207c78" providerId="LiveId" clId="{7F06FEBE-BCFA-4FE5-84DD-C8C8E7FEAF16}" dt="2018-05-18T14:40:01.502" v="2131" actId="1035"/>
          <ac:spMkLst>
            <pc:docMk/>
            <pc:sldMk cId="2312315894" sldId="468"/>
            <ac:spMk id="59" creationId="{E3E4A0CE-D925-4BF5-9D9C-37E228F75D09}"/>
          </ac:spMkLst>
        </pc:spChg>
        <pc:spChg chg="add mod">
          <ac:chgData name="David Stevens" userId="b6815b1ecc207c78" providerId="LiveId" clId="{7F06FEBE-BCFA-4FE5-84DD-C8C8E7FEAF16}" dt="2018-05-18T14:37:30.794" v="2116" actId="164"/>
          <ac:spMkLst>
            <pc:docMk/>
            <pc:sldMk cId="2312315894" sldId="468"/>
            <ac:spMk id="61" creationId="{C546DBBC-4138-467B-9F97-B65318DA89EB}"/>
          </ac:spMkLst>
        </pc:spChg>
        <pc:spChg chg="add mod">
          <ac:chgData name="David Stevens" userId="b6815b1ecc207c78" providerId="LiveId" clId="{7F06FEBE-BCFA-4FE5-84DD-C8C8E7FEAF16}" dt="2018-05-18T14:37:30.794" v="2116" actId="164"/>
          <ac:spMkLst>
            <pc:docMk/>
            <pc:sldMk cId="2312315894" sldId="468"/>
            <ac:spMk id="62" creationId="{9F678D2E-5FD4-4CA1-942C-2C365AB513BF}"/>
          </ac:spMkLst>
        </pc:spChg>
        <pc:spChg chg="add mod">
          <ac:chgData name="David Stevens" userId="b6815b1ecc207c78" providerId="LiveId" clId="{7F06FEBE-BCFA-4FE5-84DD-C8C8E7FEAF16}" dt="2018-05-18T14:40:01.502" v="2131" actId="1035"/>
          <ac:spMkLst>
            <pc:docMk/>
            <pc:sldMk cId="2312315894" sldId="468"/>
            <ac:spMk id="63" creationId="{803294DD-EA7A-443B-8F36-8B2580DD7D9B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71" creationId="{5E5C383E-1A26-4660-B835-5DFCFB16BBCE}"/>
          </ac:spMkLst>
        </pc:spChg>
        <pc:spChg chg="mod">
          <ac:chgData name="David Stevens" userId="b6815b1ecc207c78" providerId="LiveId" clId="{7F06FEBE-BCFA-4FE5-84DD-C8C8E7FEAF16}" dt="2018-05-18T14:34:52.680" v="2077" actId="164"/>
          <ac:spMkLst>
            <pc:docMk/>
            <pc:sldMk cId="2312315894" sldId="468"/>
            <ac:spMk id="73" creationId="{F7DF34A1-BCFF-4046-AA4F-3E2258FB88B7}"/>
          </ac:spMkLst>
        </pc:spChg>
        <pc:grpChg chg="mod">
          <ac:chgData name="David Stevens" userId="b6815b1ecc207c78" providerId="LiveId" clId="{7F06FEBE-BCFA-4FE5-84DD-C8C8E7FEAF16}" dt="2018-05-18T14:34:52.680" v="2077" actId="164"/>
          <ac:grpSpMkLst>
            <pc:docMk/>
            <pc:sldMk cId="2312315894" sldId="468"/>
            <ac:grpSpMk id="6" creationId="{8FBD4A79-F1FB-494E-89D3-6D69D6D3ED28}"/>
          </ac:grpSpMkLst>
        </pc:grpChg>
        <pc:grpChg chg="add mod">
          <ac:chgData name="David Stevens" userId="b6815b1ecc207c78" providerId="LiveId" clId="{7F06FEBE-BCFA-4FE5-84DD-C8C8E7FEAF16}" dt="2018-05-18T14:34:52.680" v="2077" actId="164"/>
          <ac:grpSpMkLst>
            <pc:docMk/>
            <pc:sldMk cId="2312315894" sldId="468"/>
            <ac:grpSpMk id="7" creationId="{DAD512F6-88E5-467C-826E-4F5AE44F467A}"/>
          </ac:grpSpMkLst>
        </pc:grpChg>
        <pc:grpChg chg="add mod">
          <ac:chgData name="David Stevens" userId="b6815b1ecc207c78" providerId="LiveId" clId="{7F06FEBE-BCFA-4FE5-84DD-C8C8E7FEAF16}" dt="2018-05-18T14:37:30.794" v="2116" actId="164"/>
          <ac:grpSpMkLst>
            <pc:docMk/>
            <pc:sldMk cId="2312315894" sldId="468"/>
            <ac:grpSpMk id="13" creationId="{2927EB20-D952-426E-8946-E069E304C775}"/>
          </ac:grpSpMkLst>
        </pc:grpChg>
        <pc:grpChg chg="add ord">
          <ac:chgData name="David Stevens" userId="b6815b1ecc207c78" providerId="LiveId" clId="{7F06FEBE-BCFA-4FE5-84DD-C8C8E7FEAF16}" dt="2018-05-18T14:35:57.370" v="2083" actId="167"/>
          <ac:grpSpMkLst>
            <pc:docMk/>
            <pc:sldMk cId="2312315894" sldId="468"/>
            <ac:grpSpMk id="36" creationId="{3DF4C2A0-DC5C-4B3C-8125-48D2C3091A13}"/>
          </ac:grpSpMkLst>
        </pc:grpChg>
        <pc:grpChg chg="mod">
          <ac:chgData name="David Stevens" userId="b6815b1ecc207c78" providerId="LiveId" clId="{7F06FEBE-BCFA-4FE5-84DD-C8C8E7FEAF16}" dt="2018-05-18T14:34:52.680" v="2077" actId="164"/>
          <ac:grpSpMkLst>
            <pc:docMk/>
            <pc:sldMk cId="2312315894" sldId="468"/>
            <ac:grpSpMk id="74" creationId="{FC903849-1210-42B9-BEDD-C6A15FD3F19E}"/>
          </ac:grpSpMkLst>
        </pc:grp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10" creationId="{55C8D1F0-B05D-482A-B279-261B328A7A2B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45" creationId="{C71816A1-96B4-4980-8915-8380106D0C54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46" creationId="{A8795A3A-0B90-4EFC-8949-ACF7F61BCEA7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47" creationId="{90CA296C-9CA2-414E-80AF-B10FE6EBB396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49" creationId="{972F48DB-8D85-406D-9109-799DC20E2D5E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52" creationId="{1C2904F0-FB5D-4E26-BF7F-11982BCF831A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56" creationId="{3203C32B-168E-406C-87F0-4B846386F0C3}"/>
          </ac:cxnSpMkLst>
        </pc:cxnChg>
        <pc:cxnChg chg="mod">
          <ac:chgData name="David Stevens" userId="b6815b1ecc207c78" providerId="LiveId" clId="{7F06FEBE-BCFA-4FE5-84DD-C8C8E7FEAF16}" dt="2018-05-18T14:34:52.680" v="2077" actId="164"/>
          <ac:cxnSpMkLst>
            <pc:docMk/>
            <pc:sldMk cId="2312315894" sldId="468"/>
            <ac:cxnSpMk id="60" creationId="{DBCAA286-0AD3-4A00-A19F-A20AD3720908}"/>
          </ac:cxnSpMkLst>
        </pc:cxnChg>
      </pc:sldChg>
      <pc:sldChg chg="addSp modSp add ord modAnim">
        <pc:chgData name="David Stevens" userId="b6815b1ecc207c78" providerId="LiveId" clId="{7F06FEBE-BCFA-4FE5-84DD-C8C8E7FEAF16}" dt="2018-05-24T11:41:11.824" v="3153" actId="1076"/>
        <pc:sldMkLst>
          <pc:docMk/>
          <pc:sldMk cId="3302795266" sldId="469"/>
        </pc:sldMkLst>
        <pc:spChg chg="mod">
          <ac:chgData name="David Stevens" userId="b6815b1ecc207c78" providerId="LiveId" clId="{7F06FEBE-BCFA-4FE5-84DD-C8C8E7FEAF16}" dt="2018-05-18T14:41:14.690" v="2219" actId="5793"/>
          <ac:spMkLst>
            <pc:docMk/>
            <pc:sldMk cId="3302795266" sldId="469"/>
            <ac:spMk id="2" creationId="{89B05169-705A-46E3-BDB8-583060164608}"/>
          </ac:spMkLst>
        </pc:spChg>
        <pc:spChg chg="mod">
          <ac:chgData name="David Stevens" userId="b6815b1ecc207c78" providerId="LiveId" clId="{7F06FEBE-BCFA-4FE5-84DD-C8C8E7FEAF16}" dt="2018-05-18T14:59:16.898" v="2879" actId="14100"/>
          <ac:spMkLst>
            <pc:docMk/>
            <pc:sldMk cId="3302795266" sldId="469"/>
            <ac:spMk id="3" creationId="{950B2C0F-3D3B-42F6-B125-71948AAF1B96}"/>
          </ac:spMkLst>
        </pc:spChg>
        <pc:spChg chg="add mod">
          <ac:chgData name="David Stevens" userId="b6815b1ecc207c78" providerId="LiveId" clId="{7F06FEBE-BCFA-4FE5-84DD-C8C8E7FEAF16}" dt="2018-05-18T15:16:04.397" v="2904" actId="1076"/>
          <ac:spMkLst>
            <pc:docMk/>
            <pc:sldMk cId="3302795266" sldId="469"/>
            <ac:spMk id="5" creationId="{0829856A-EA33-4FB2-A594-24D2C5EF2D70}"/>
          </ac:spMkLst>
        </pc:spChg>
        <pc:spChg chg="add mod">
          <ac:chgData name="David Stevens" userId="b6815b1ecc207c78" providerId="LiveId" clId="{7F06FEBE-BCFA-4FE5-84DD-C8C8E7FEAF16}" dt="2018-05-18T15:19:00.453" v="3016" actId="20577"/>
          <ac:spMkLst>
            <pc:docMk/>
            <pc:sldMk cId="3302795266" sldId="469"/>
            <ac:spMk id="7" creationId="{16CC92DA-A742-4963-B9EC-312298C6022C}"/>
          </ac:spMkLst>
        </pc:spChg>
        <pc:spChg chg="add mod">
          <ac:chgData name="David Stevens" userId="b6815b1ecc207c78" providerId="LiveId" clId="{7F06FEBE-BCFA-4FE5-84DD-C8C8E7FEAF16}" dt="2018-05-24T11:41:11.824" v="3153" actId="1076"/>
          <ac:spMkLst>
            <pc:docMk/>
            <pc:sldMk cId="3302795266" sldId="469"/>
            <ac:spMk id="8" creationId="{8201E7FD-B829-4F29-8843-80760C3ED5D2}"/>
          </ac:spMkLst>
        </pc:spChg>
        <pc:picChg chg="add mod">
          <ac:chgData name="David Stevens" userId="b6815b1ecc207c78" providerId="LiveId" clId="{7F06FEBE-BCFA-4FE5-84DD-C8C8E7FEAF16}" dt="2018-05-18T15:16:02.037" v="2903" actId="1076"/>
          <ac:picMkLst>
            <pc:docMk/>
            <pc:sldMk cId="3302795266" sldId="469"/>
            <ac:picMk id="4" creationId="{1B598F5D-1414-4078-9E92-BE6A73DADA92}"/>
          </ac:picMkLst>
        </pc:picChg>
        <pc:picChg chg="add mod">
          <ac:chgData name="David Stevens" userId="b6815b1ecc207c78" providerId="LiveId" clId="{7F06FEBE-BCFA-4FE5-84DD-C8C8E7FEAF16}" dt="2018-05-18T15:16:10.563" v="2905" actId="1076"/>
          <ac:picMkLst>
            <pc:docMk/>
            <pc:sldMk cId="3302795266" sldId="469"/>
            <ac:picMk id="6" creationId="{3CFEE84B-D89C-4DB8-8FCE-2565236BAA92}"/>
          </ac:picMkLst>
        </pc:picChg>
      </pc:sldChg>
      <pc:sldChg chg="delSp modSp add">
        <pc:chgData name="David Stevens" userId="b6815b1ecc207c78" providerId="LiveId" clId="{7F06FEBE-BCFA-4FE5-84DD-C8C8E7FEAF16}" dt="2018-05-18T14:45:04.310" v="2306" actId="478"/>
        <pc:sldMkLst>
          <pc:docMk/>
          <pc:sldMk cId="36480535" sldId="470"/>
        </pc:sldMkLst>
        <pc:spChg chg="mod">
          <ac:chgData name="David Stevens" userId="b6815b1ecc207c78" providerId="LiveId" clId="{7F06FEBE-BCFA-4FE5-84DD-C8C8E7FEAF16}" dt="2018-05-18T14:45:01.879" v="2305" actId="20577"/>
          <ac:spMkLst>
            <pc:docMk/>
            <pc:sldMk cId="36480535" sldId="470"/>
            <ac:spMk id="2" creationId="{BAAA515D-8F78-4424-B76F-4256881C607E}"/>
          </ac:spMkLst>
        </pc:spChg>
        <pc:spChg chg="del">
          <ac:chgData name="David Stevens" userId="b6815b1ecc207c78" providerId="LiveId" clId="{7F06FEBE-BCFA-4FE5-84DD-C8C8E7FEAF16}" dt="2018-05-18T14:45:04.310" v="2306" actId="478"/>
          <ac:spMkLst>
            <pc:docMk/>
            <pc:sldMk cId="36480535" sldId="470"/>
            <ac:spMk id="3" creationId="{AF3ABBAA-B0A4-44EE-8AB0-3F039BECEAC9}"/>
          </ac:spMkLst>
        </pc:spChg>
      </pc:sldChg>
      <pc:sldChg chg="addSp delSp modSp add">
        <pc:chgData name="David Stevens" userId="b6815b1ecc207c78" providerId="LiveId" clId="{7F06FEBE-BCFA-4FE5-84DD-C8C8E7FEAF16}" dt="2018-05-24T10:59:30.106" v="3120" actId="14100"/>
        <pc:sldMkLst>
          <pc:docMk/>
          <pc:sldMk cId="3981493019" sldId="471"/>
        </pc:sldMkLst>
        <pc:spChg chg="del">
          <ac:chgData name="David Stevens" userId="b6815b1ecc207c78" providerId="LiveId" clId="{7F06FEBE-BCFA-4FE5-84DD-C8C8E7FEAF16}" dt="2018-05-18T14:45:24.101" v="2308" actId="113"/>
          <ac:spMkLst>
            <pc:docMk/>
            <pc:sldMk cId="3981493019" sldId="471"/>
            <ac:spMk id="2" creationId="{711192C3-9B57-4738-93D4-F452F544DE31}"/>
          </ac:spMkLst>
        </pc:spChg>
        <pc:spChg chg="del">
          <ac:chgData name="David Stevens" userId="b6815b1ecc207c78" providerId="LiveId" clId="{7F06FEBE-BCFA-4FE5-84DD-C8C8E7FEAF16}" dt="2018-05-18T14:45:24.101" v="2308" actId="113"/>
          <ac:spMkLst>
            <pc:docMk/>
            <pc:sldMk cId="3981493019" sldId="471"/>
            <ac:spMk id="3" creationId="{E07FE4BE-6199-4D4E-A636-0B23FBA390E5}"/>
          </ac:spMkLst>
        </pc:spChg>
        <pc:spChg chg="add mod">
          <ac:chgData name="David Stevens" userId="b6815b1ecc207c78" providerId="LiveId" clId="{7F06FEBE-BCFA-4FE5-84DD-C8C8E7FEAF16}" dt="2018-05-18T14:45:28.830" v="2320" actId="20577"/>
          <ac:spMkLst>
            <pc:docMk/>
            <pc:sldMk cId="3981493019" sldId="471"/>
            <ac:spMk id="4" creationId="{5C43CC5E-6BE8-4958-9340-378D4A50CB45}"/>
          </ac:spMkLst>
        </pc:spChg>
        <pc:spChg chg="add mod">
          <ac:chgData name="David Stevens" userId="b6815b1ecc207c78" providerId="LiveId" clId="{7F06FEBE-BCFA-4FE5-84DD-C8C8E7FEAF16}" dt="2018-05-24T10:59:30.106" v="3120" actId="14100"/>
          <ac:spMkLst>
            <pc:docMk/>
            <pc:sldMk cId="3981493019" sldId="471"/>
            <ac:spMk id="5" creationId="{984253E8-6552-4DA0-B064-31F6D130E82B}"/>
          </ac:spMkLst>
        </pc:spChg>
        <pc:spChg chg="add del mod">
          <ac:chgData name="David Stevens" userId="b6815b1ecc207c78" providerId="LiveId" clId="{7F06FEBE-BCFA-4FE5-84DD-C8C8E7FEAF16}" dt="2018-05-18T14:46:37.749" v="2344" actId="113"/>
          <ac:spMkLst>
            <pc:docMk/>
            <pc:sldMk cId="3981493019" sldId="471"/>
            <ac:spMk id="6" creationId="{6507D777-A993-4BCD-9EE1-639356B5605E}"/>
          </ac:spMkLst>
        </pc:spChg>
        <pc:spChg chg="add del mod">
          <ac:chgData name="David Stevens" userId="b6815b1ecc207c78" providerId="LiveId" clId="{7F06FEBE-BCFA-4FE5-84DD-C8C8E7FEAF16}" dt="2018-05-24T10:59:05.987" v="3117" actId="478"/>
          <ac:spMkLst>
            <pc:docMk/>
            <pc:sldMk cId="3981493019" sldId="471"/>
            <ac:spMk id="7" creationId="{D2D74F60-680F-42FC-A7F6-0C2508B62321}"/>
          </ac:spMkLst>
        </pc:spChg>
        <pc:picChg chg="add mod">
          <ac:chgData name="David Stevens" userId="b6815b1ecc207c78" providerId="LiveId" clId="{7F06FEBE-BCFA-4FE5-84DD-C8C8E7FEAF16}" dt="2018-05-24T10:59:17.019" v="3118" actId="1076"/>
          <ac:picMkLst>
            <pc:docMk/>
            <pc:sldMk cId="3981493019" sldId="471"/>
            <ac:picMk id="3" creationId="{A3CB35F1-CEF9-4E77-9868-4D02951F3632}"/>
          </ac:picMkLst>
        </pc:picChg>
        <pc:picChg chg="add del mod">
          <ac:chgData name="David Stevens" userId="b6815b1ecc207c78" providerId="LiveId" clId="{7F06FEBE-BCFA-4FE5-84DD-C8C8E7FEAF16}" dt="2018-05-24T10:58:59.231" v="3114" actId="478"/>
          <ac:picMkLst>
            <pc:docMk/>
            <pc:sldMk cId="3981493019" sldId="471"/>
            <ac:picMk id="8" creationId="{A1A34409-1911-40CA-86D3-C831947FBA43}"/>
          </ac:picMkLst>
        </pc:picChg>
        <pc:picChg chg="add del mod ord">
          <ac:chgData name="David Stevens" userId="b6815b1ecc207c78" providerId="LiveId" clId="{7F06FEBE-BCFA-4FE5-84DD-C8C8E7FEAF16}" dt="2018-05-18T14:47:14.606" v="2408" actId="478"/>
          <ac:picMkLst>
            <pc:docMk/>
            <pc:sldMk cId="3981493019" sldId="471"/>
            <ac:picMk id="10" creationId="{9D735AAB-D3C7-4CE4-9E2A-5DB018C0AA13}"/>
          </ac:picMkLst>
        </pc:picChg>
        <pc:picChg chg="add del mod">
          <ac:chgData name="David Stevens" userId="b6815b1ecc207c78" providerId="LiveId" clId="{7F06FEBE-BCFA-4FE5-84DD-C8C8E7FEAF16}" dt="2018-05-18T14:48:08.311" v="2469" actId="478"/>
          <ac:picMkLst>
            <pc:docMk/>
            <pc:sldMk cId="3981493019" sldId="471"/>
            <ac:picMk id="12" creationId="{E6E6F1D6-113F-4782-A831-A8813BC34E99}"/>
          </ac:picMkLst>
        </pc:picChg>
        <pc:picChg chg="add del mod">
          <ac:chgData name="David Stevens" userId="b6815b1ecc207c78" providerId="LiveId" clId="{7F06FEBE-BCFA-4FE5-84DD-C8C8E7FEAF16}" dt="2018-05-18T14:48:16.902" v="2471" actId="478"/>
          <ac:picMkLst>
            <pc:docMk/>
            <pc:sldMk cId="3981493019" sldId="471"/>
            <ac:picMk id="14" creationId="{DA43917D-F315-46B2-ABAB-C914972BF1C3}"/>
          </ac:picMkLst>
        </pc:picChg>
      </pc:sldChg>
    </pc:docChg>
  </pc:docChgLst>
  <pc:docChgLst>
    <pc:chgData name="Stevens, David" userId="ac0626e3-72c9-46ef-be9c-68c7f11863b4" providerId="ADAL" clId="{5AA691EA-3469-43F6-9A74-4A3D7CA75735}"/>
    <pc:docChg chg="undo addSld delSld modSld sldOrd">
      <pc:chgData name="Stevens, David" userId="ac0626e3-72c9-46ef-be9c-68c7f11863b4" providerId="ADAL" clId="{5AA691EA-3469-43F6-9A74-4A3D7CA75735}" dt="2018-04-13T06:59:21.198" v="174" actId="2696"/>
      <pc:docMkLst>
        <pc:docMk/>
      </pc:docMkLst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5/24/2018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5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511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ide steps through</a:t>
            </a:r>
          </a:p>
          <a:p>
            <a:endParaRPr lang="en-GB" dirty="0"/>
          </a:p>
          <a:p>
            <a:r>
              <a:rPr lang="en-GB" dirty="0"/>
              <a:t>1. First we need to understand the business drivers and industry direction </a:t>
            </a:r>
          </a:p>
          <a:p>
            <a:endParaRPr lang="en-GB" dirty="0"/>
          </a:p>
          <a:p>
            <a:r>
              <a:rPr lang="en-GB" dirty="0"/>
              <a:t>2. Through innovation agenda’s and other client discussions we take these and shape against the client’s key strategic programs</a:t>
            </a:r>
          </a:p>
          <a:p>
            <a:endParaRPr lang="en-GB" dirty="0"/>
          </a:p>
          <a:p>
            <a:r>
              <a:rPr lang="en-GB" dirty="0"/>
              <a:t>3. The agendas call out opportunities for DXC to build solutions for (offerings plus, partners)</a:t>
            </a:r>
          </a:p>
          <a:p>
            <a:endParaRPr lang="en-GB" dirty="0"/>
          </a:p>
          <a:p>
            <a:r>
              <a:rPr lang="en-GB" dirty="0"/>
              <a:t>4. Solutions are captured and help support the next person following this common path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is approach is common for all our account leadership tea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4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 is repeated EVERYWHER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9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gital Explorer helps connect all these key steps together.</a:t>
            </a:r>
          </a:p>
          <a:p>
            <a:endParaRPr lang="en-GB" dirty="0"/>
          </a:p>
          <a:p>
            <a:r>
              <a:rPr lang="en-GB" dirty="0"/>
              <a:t>We can all learn and share industry knowledge</a:t>
            </a:r>
          </a:p>
          <a:p>
            <a:endParaRPr lang="en-GB" dirty="0"/>
          </a:p>
          <a:p>
            <a:r>
              <a:rPr lang="en-GB" dirty="0"/>
              <a:t>We can all understand true client demand and direction</a:t>
            </a:r>
          </a:p>
          <a:p>
            <a:endParaRPr lang="en-GB" dirty="0"/>
          </a:p>
          <a:p>
            <a:r>
              <a:rPr lang="en-GB" dirty="0"/>
              <a:t>We can work as a single organisation to address the unmet demands</a:t>
            </a:r>
          </a:p>
          <a:p>
            <a:endParaRPr lang="en-GB" dirty="0"/>
          </a:p>
          <a:p>
            <a:r>
              <a:rPr lang="en-GB" dirty="0"/>
              <a:t>Our Build teams can gain insights into future demand – prep our offerings, people and processes to meet the new demand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575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May 24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4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4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4, 2018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616" y="3086102"/>
            <a:ext cx="9873613" cy="691516"/>
          </a:xfrm>
        </p:spPr>
        <p:txBody>
          <a:bodyPr>
            <a:noAutofit/>
          </a:bodyPr>
          <a:lstStyle>
            <a:lvl1pPr>
              <a:defRPr sz="4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29617" y="3779041"/>
            <a:ext cx="9873613" cy="6400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8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400"/>
            </a:lvl2pPr>
            <a:lvl3pPr marL="0" indent="0">
              <a:spcBef>
                <a:spcPts val="0"/>
              </a:spcBef>
              <a:buFontTx/>
              <a:buNone/>
              <a:defRPr sz="2400"/>
            </a:lvl3pPr>
            <a:lvl4pPr marL="0" indent="0">
              <a:spcBef>
                <a:spcPts val="0"/>
              </a:spcBef>
              <a:buFontTx/>
              <a:buNone/>
              <a:defRPr sz="2400"/>
            </a:lvl4pPr>
            <a:lvl5pPr marL="0" indent="0">
              <a:spcBef>
                <a:spcPts val="0"/>
              </a:spcBef>
              <a:buFontTx/>
              <a:buNone/>
              <a:defRPr sz="2400"/>
            </a:lvl5pPr>
            <a:lvl6pPr marL="0" indent="0">
              <a:spcBef>
                <a:spcPts val="0"/>
              </a:spcBef>
              <a:buFontTx/>
              <a:buNone/>
              <a:defRPr sz="2400"/>
            </a:lvl6pPr>
            <a:lvl7pPr marL="0" indent="0">
              <a:spcBef>
                <a:spcPts val="0"/>
              </a:spcBef>
              <a:buFontTx/>
              <a:buNone/>
              <a:defRPr sz="2400"/>
            </a:lvl7pPr>
            <a:lvl8pPr marL="0" indent="0">
              <a:spcBef>
                <a:spcPts val="0"/>
              </a:spcBef>
              <a:buFontTx/>
              <a:buNone/>
              <a:defRPr sz="2400"/>
            </a:lvl8pPr>
            <a:lvl9pPr marL="0" indent="0">
              <a:spcBef>
                <a:spcPts val="0"/>
              </a:spcBef>
              <a:buFontTx/>
              <a:buNone/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32329" y="7498081"/>
            <a:ext cx="1163366" cy="468629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97280"/>
              <a:endParaRPr sz="216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May 24, 2018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0" y="7717048"/>
            <a:ext cx="640079" cy="278576"/>
          </a:xfrm>
          <a:prstGeom prst="rect">
            <a:avLst/>
          </a:prstGeom>
        </p:spPr>
        <p:txBody>
          <a:bodyPr/>
          <a:lstStyle>
            <a:lvl1pPr>
              <a:defRPr sz="1440"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729619" y="555383"/>
            <a:ext cx="13183361" cy="2348842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1097280">
              <a:lnSpc>
                <a:spcPct val="90000"/>
              </a:lnSpc>
            </a:pPr>
            <a:endParaRPr sz="216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0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May 24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2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1" y="1828804"/>
            <a:ext cx="13163740" cy="5486399"/>
          </a:xfrm>
          <a:prstGeom prst="rect">
            <a:avLst/>
          </a:prstGeo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May 24, 2018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3258803" y="7717045"/>
            <a:ext cx="640079" cy="278576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39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65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400" b="0" dirty="0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4, 2018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58" r:id="rId5"/>
    <p:sldLayoutId id="2147483665" r:id="rId6"/>
    <p:sldLayoutId id="2147483659" r:id="rId7"/>
    <p:sldLayoutId id="2147483650" r:id="rId8"/>
    <p:sldLayoutId id="2147483666" r:id="rId9"/>
    <p:sldLayoutId id="2147483667" r:id="rId10"/>
    <p:sldLayoutId id="2147483652" r:id="rId11"/>
    <p:sldLayoutId id="2147483660" r:id="rId12"/>
    <p:sldLayoutId id="2147483662" r:id="rId13"/>
    <p:sldLayoutId id="2147483663" r:id="rId14"/>
    <p:sldLayoutId id="2147483651" r:id="rId15"/>
    <p:sldLayoutId id="2147483668" r:id="rId16"/>
    <p:sldLayoutId id="2147483669" r:id="rId17"/>
    <p:sldLayoutId id="2147483655" r:id="rId18"/>
    <p:sldLayoutId id="214748366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07" y="1906"/>
          <a:ext cx="1905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7" y="1906"/>
                        <a:ext cx="1905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335" y="623083"/>
            <a:ext cx="13163931" cy="1022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729619" y="525247"/>
            <a:ext cx="13167361" cy="2194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2159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17860" y="7711325"/>
            <a:ext cx="1194694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40">
                <a:solidFill>
                  <a:schemeClr val="tx1"/>
                </a:solidFill>
              </a:defRPr>
            </a:lvl1pPr>
          </a:lstStyle>
          <a:p>
            <a:fld id="{5E51F714-C24D-4942-B68B-C152BFD71ED0}" type="datetime4">
              <a:rPr lang="en-US" smtClean="0">
                <a:solidFill>
                  <a:prstClr val="black"/>
                </a:solidFill>
              </a:rPr>
              <a:pPr/>
              <a:t>May 24, 2018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1040" y="7711325"/>
            <a:ext cx="4830238" cy="25237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4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Private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32332" y="7498081"/>
            <a:ext cx="1163366" cy="468629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2159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19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  <p:sldLayoutId id="214748367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096951" rtl="0" eaLnBrk="1" latinLnBrk="0" hangingPunct="1">
        <a:lnSpc>
          <a:spcPct val="90000"/>
        </a:lnSpc>
        <a:spcBef>
          <a:spcPct val="0"/>
        </a:spcBef>
        <a:buNone/>
        <a:defRPr sz="335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390" indent="-219390" algn="l" defTabSz="1096951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–"/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493628" indent="-219390" algn="l" defTabSz="1096951" rtl="0" eaLnBrk="1" latinLnBrk="0" hangingPunct="1">
        <a:lnSpc>
          <a:spcPct val="90000"/>
        </a:lnSpc>
        <a:spcBef>
          <a:spcPts val="960"/>
        </a:spcBef>
        <a:buFont typeface="Arial" panose="020B0604020202020204" pitchFamily="34" charset="0"/>
        <a:buChar char="–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658170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877561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042103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261494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1426036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164542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1864817" indent="-164543" algn="l" defTabSz="1096951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–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1pPr>
      <a:lvl2pPr marL="548476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2pPr>
      <a:lvl3pPr marL="109695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3pPr>
      <a:lvl4pPr marL="164542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4pPr>
      <a:lvl5pPr marL="2193901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5pPr>
      <a:lvl6pPr marL="2742377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90852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839328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387804" algn="l" defTabSz="1096951" rtl="0" eaLnBrk="1" latinLnBrk="0" hangingPunct="1"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dxc.facebook.com/groups/1944577162473453/" TargetMode="External"/><Relationship Id="rId2" Type="http://schemas.openxmlformats.org/officeDocument/2006/relationships/hyperlink" Target="https://rndwiki.houston.entsvcs.net/confluence/pages/viewpage.action?pageId=1016169972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hyperlink" Target="https://github.dxc.com/DigitalExplorer/Digital-Explorer-Specs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dxc.facebook.com/groups/1944577162473453/" TargetMode="External"/><Relationship Id="rId5" Type="http://schemas.openxmlformats.org/officeDocument/2006/relationships/hyperlink" Target="https://video.dxc.com/channel/Digital+Explorer" TargetMode="External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emf"/><Relationship Id="rId12" Type="http://schemas.openxmlformats.org/officeDocument/2006/relationships/image" Target="../media/image1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emf"/><Relationship Id="rId11" Type="http://schemas.openxmlformats.org/officeDocument/2006/relationships/image" Target="../media/image16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21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igitalexplorer.solutionplace.svcs.hpe.com/de/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/>
          <a:lstStyle/>
          <a:p>
            <a:r>
              <a:rPr lang="en-GB" dirty="0"/>
              <a:t>DXC Digital Explorer 101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dustry, technology, client roadmaps and solution knowledge combined</a:t>
            </a:r>
          </a:p>
          <a:p>
            <a:endParaRPr lang="en-GB" dirty="0"/>
          </a:p>
          <a:p>
            <a:r>
              <a:rPr lang="en-GB" b="0" dirty="0"/>
              <a:t>David Stevens</a:t>
            </a:r>
            <a:br>
              <a:rPr lang="en-GB" b="0" dirty="0"/>
            </a:br>
            <a:r>
              <a:rPr lang="en-GB" sz="1600" b="0" dirty="0"/>
              <a:t>Digital Explorer Product Owner &amp; Architect </a:t>
            </a:r>
            <a:endParaRPr lang="en-GB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7AA3B8-BE47-4602-8C3A-4DCE0E7610CB}"/>
              </a:ext>
            </a:extLst>
          </p:cNvPr>
          <p:cNvSpPr/>
          <p:nvPr/>
        </p:nvSpPr>
        <p:spPr>
          <a:xfrm>
            <a:off x="685800" y="558248"/>
            <a:ext cx="554555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https://digitalexplorer.dxc.com</a:t>
            </a:r>
            <a:endParaRPr lang="en-GB" b="1" dirty="0">
              <a:solidFill>
                <a:schemeClr val="bg1"/>
              </a:solidFill>
              <a:hlinkClick r:id="rId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63DD3B-A29A-442C-808E-BAA9EBFD38C6}"/>
              </a:ext>
            </a:extLst>
          </p:cNvPr>
          <p:cNvGrpSpPr/>
          <p:nvPr/>
        </p:nvGrpSpPr>
        <p:grpSpPr>
          <a:xfrm>
            <a:off x="11554568" y="6563072"/>
            <a:ext cx="2808312" cy="613001"/>
            <a:chOff x="11563672" y="1137580"/>
            <a:chExt cx="2808312" cy="613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B9E31F-969F-4086-B83E-2194A41E64F4}"/>
                </a:ext>
              </a:extLst>
            </p:cNvPr>
            <p:cNvSpPr txBox="1"/>
            <p:nvPr/>
          </p:nvSpPr>
          <p:spPr>
            <a:xfrm>
              <a:off x="12162455" y="1274803"/>
              <a:ext cx="220952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DXC </a:t>
              </a:r>
              <a:r>
                <a:rPr lang="en-GB" sz="1600" dirty="0">
                  <a:solidFill>
                    <a:schemeClr val="accent3"/>
                  </a:solidFill>
                  <a:hlinkClick r:id="rId3"/>
                </a:rPr>
                <a:t>Workplace</a:t>
              </a:r>
              <a:r>
                <a:rPr lang="en-GB" sz="1600" dirty="0">
                  <a:solidFill>
                    <a:schemeClr val="bg1"/>
                  </a:solidFill>
                  <a:hlinkClick r:id="rId3"/>
                </a:rPr>
                <a:t> group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89614F3-DBB5-4120-ABB2-E4E07D9EF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63672" y="1137580"/>
              <a:ext cx="576064" cy="6130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275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F4B68-EFC3-43EA-BBB6-95D56500B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ustry Trends</a:t>
            </a:r>
            <a:br>
              <a:rPr lang="en-GB" dirty="0"/>
            </a:br>
            <a:r>
              <a:rPr lang="en-GB" dirty="0"/>
              <a:t>The Digital Explorer information model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22C63ED-EF9B-4E53-A4C9-8D9CBC10A4A4}"/>
              </a:ext>
            </a:extLst>
          </p:cNvPr>
          <p:cNvGrpSpPr/>
          <p:nvPr/>
        </p:nvGrpSpPr>
        <p:grpSpPr>
          <a:xfrm>
            <a:off x="1100071" y="1954560"/>
            <a:ext cx="12302648" cy="2605121"/>
            <a:chOff x="1100071" y="1954560"/>
            <a:chExt cx="12302648" cy="3692648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C698C53-62B3-4FDD-8FEB-F51538E18D28}"/>
                </a:ext>
              </a:extLst>
            </p:cNvPr>
            <p:cNvSpPr/>
            <p:nvPr/>
          </p:nvSpPr>
          <p:spPr>
            <a:xfrm>
              <a:off x="1100071" y="1954560"/>
              <a:ext cx="12302647" cy="108752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Industry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FBD4A79-F1FB-494E-89D3-6D69D6D3ED28}"/>
                </a:ext>
              </a:extLst>
            </p:cNvPr>
            <p:cNvGrpSpPr/>
            <p:nvPr/>
          </p:nvGrpSpPr>
          <p:grpSpPr>
            <a:xfrm>
              <a:off x="1100071" y="3257121"/>
              <a:ext cx="12302647" cy="1087527"/>
              <a:chOff x="762472" y="3334495"/>
              <a:chExt cx="10153128" cy="1152128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AD7ABE5-1B90-48A3-8C8B-2DB843F42456}"/>
                  </a:ext>
                </a:extLst>
              </p:cNvPr>
              <p:cNvSpPr/>
              <p:nvPr/>
            </p:nvSpPr>
            <p:spPr>
              <a:xfrm>
                <a:off x="5947048" y="3334495"/>
                <a:ext cx="496855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dirty="0"/>
                  <a:t>Sub Industry</a:t>
                </a: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410D1A3-3423-43A1-A2F6-C1D1A240D8CE}"/>
                  </a:ext>
                </a:extLst>
              </p:cNvPr>
              <p:cNvSpPr/>
              <p:nvPr/>
            </p:nvSpPr>
            <p:spPr>
              <a:xfrm>
                <a:off x="762472" y="3334495"/>
                <a:ext cx="496855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dirty="0"/>
                  <a:t>Sub Industry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E59FC8A-D480-423F-822A-F6F656247042}"/>
                </a:ext>
              </a:extLst>
            </p:cNvPr>
            <p:cNvGrpSpPr/>
            <p:nvPr/>
          </p:nvGrpSpPr>
          <p:grpSpPr>
            <a:xfrm>
              <a:off x="1100072" y="4559681"/>
              <a:ext cx="6020444" cy="1087527"/>
              <a:chOff x="762473" y="4639023"/>
              <a:chExt cx="6378070" cy="1152128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87B35A7-8E71-481E-8563-9F4167DD1B29}"/>
                  </a:ext>
                </a:extLst>
              </p:cNvPr>
              <p:cNvSpPr/>
              <p:nvPr/>
            </p:nvSpPr>
            <p:spPr>
              <a:xfrm>
                <a:off x="2373397" y="4639023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D683C49-8648-4AFD-9A72-F91373EB3B25}"/>
                  </a:ext>
                </a:extLst>
              </p:cNvPr>
              <p:cNvSpPr/>
              <p:nvPr/>
            </p:nvSpPr>
            <p:spPr>
              <a:xfrm>
                <a:off x="762473" y="4639023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3FA5752-D8A6-4657-AAEE-5F7A540D218F}"/>
                  </a:ext>
                </a:extLst>
              </p:cNvPr>
              <p:cNvSpPr/>
              <p:nvPr/>
            </p:nvSpPr>
            <p:spPr>
              <a:xfrm>
                <a:off x="5596741" y="4639023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E715E24-534F-4820-9567-833635E37FEC}"/>
                  </a:ext>
                </a:extLst>
              </p:cNvPr>
              <p:cNvSpPr/>
              <p:nvPr/>
            </p:nvSpPr>
            <p:spPr>
              <a:xfrm>
                <a:off x="3985817" y="4639023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91D2370-0217-44AF-B76A-602B3D00D61F}"/>
                </a:ext>
              </a:extLst>
            </p:cNvPr>
            <p:cNvGrpSpPr/>
            <p:nvPr/>
          </p:nvGrpSpPr>
          <p:grpSpPr>
            <a:xfrm>
              <a:off x="7382275" y="4559681"/>
              <a:ext cx="6020444" cy="1087527"/>
              <a:chOff x="7417850" y="4635947"/>
              <a:chExt cx="6378070" cy="1152128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E8D9512-B721-483B-A3A6-F0D7BC3635BF}"/>
                  </a:ext>
                </a:extLst>
              </p:cNvPr>
              <p:cNvSpPr/>
              <p:nvPr/>
            </p:nvSpPr>
            <p:spPr>
              <a:xfrm>
                <a:off x="9028774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A3D69536-D348-41C6-A166-59F174426699}"/>
                  </a:ext>
                </a:extLst>
              </p:cNvPr>
              <p:cNvSpPr/>
              <p:nvPr/>
            </p:nvSpPr>
            <p:spPr>
              <a:xfrm>
                <a:off x="7417850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BFC63C-C0F1-4E76-A963-649CE8F52CCD}"/>
                  </a:ext>
                </a:extLst>
              </p:cNvPr>
              <p:cNvSpPr/>
              <p:nvPr/>
            </p:nvSpPr>
            <p:spPr>
              <a:xfrm>
                <a:off x="12252118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FC8F2E0A-F839-47B8-9816-8F97D0B206E2}"/>
                  </a:ext>
                </a:extLst>
              </p:cNvPr>
              <p:cNvSpPr/>
              <p:nvPr/>
            </p:nvSpPr>
            <p:spPr>
              <a:xfrm>
                <a:off x="10641194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800" dirty="0"/>
                  <a:t>Business Area</a:t>
                </a:r>
              </a:p>
            </p:txBody>
          </p:sp>
        </p:grp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DF5AFEBA-B52C-48A0-B73A-90CF93B636AD}"/>
              </a:ext>
            </a:extLst>
          </p:cNvPr>
          <p:cNvSpPr/>
          <p:nvPr/>
        </p:nvSpPr>
        <p:spPr>
          <a:xfrm>
            <a:off x="643169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187731D-C67F-491B-82C0-228B9DC505AF}"/>
              </a:ext>
            </a:extLst>
          </p:cNvPr>
          <p:cNvSpPr/>
          <p:nvPr/>
        </p:nvSpPr>
        <p:spPr>
          <a:xfrm>
            <a:off x="1736890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A94E4FB-37B7-4B2A-8AF5-6C1BA38FA251}"/>
              </a:ext>
            </a:extLst>
          </p:cNvPr>
          <p:cNvSpPr/>
          <p:nvPr/>
        </p:nvSpPr>
        <p:spPr>
          <a:xfrm>
            <a:off x="2830611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48B1EB0-E808-4AC0-9452-BBC3D6AE66B5}"/>
              </a:ext>
            </a:extLst>
          </p:cNvPr>
          <p:cNvSpPr/>
          <p:nvPr/>
        </p:nvSpPr>
        <p:spPr>
          <a:xfrm>
            <a:off x="3924332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B3D8480-F108-44FE-9369-D81D40C30CCF}"/>
              </a:ext>
            </a:extLst>
          </p:cNvPr>
          <p:cNvSpPr/>
          <p:nvPr/>
        </p:nvSpPr>
        <p:spPr>
          <a:xfrm>
            <a:off x="5018053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2ED5E89-C085-4CC7-B54C-6EC8F34A4AA0}"/>
              </a:ext>
            </a:extLst>
          </p:cNvPr>
          <p:cNvSpPr/>
          <p:nvPr/>
        </p:nvSpPr>
        <p:spPr>
          <a:xfrm>
            <a:off x="6111774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A5E243-DC4A-414A-AD6C-9611DC5C1322}"/>
              </a:ext>
            </a:extLst>
          </p:cNvPr>
          <p:cNvSpPr/>
          <p:nvPr/>
        </p:nvSpPr>
        <p:spPr>
          <a:xfrm>
            <a:off x="7205495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DB426CE-363C-4437-88F7-AFBEE56D6F3E}"/>
              </a:ext>
            </a:extLst>
          </p:cNvPr>
          <p:cNvSpPr/>
          <p:nvPr/>
        </p:nvSpPr>
        <p:spPr>
          <a:xfrm>
            <a:off x="8299216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79BA3B2-3148-40EA-A621-BD5FF2F54D1D}"/>
              </a:ext>
            </a:extLst>
          </p:cNvPr>
          <p:cNvSpPr/>
          <p:nvPr/>
        </p:nvSpPr>
        <p:spPr>
          <a:xfrm>
            <a:off x="9392937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ACFD52-D056-4668-84C6-EF12B4BCD0C0}"/>
              </a:ext>
            </a:extLst>
          </p:cNvPr>
          <p:cNvSpPr/>
          <p:nvPr/>
        </p:nvSpPr>
        <p:spPr>
          <a:xfrm>
            <a:off x="10486658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D2BD417-05D5-4C2E-8EFD-3A30C521CAC6}"/>
              </a:ext>
            </a:extLst>
          </p:cNvPr>
          <p:cNvSpPr/>
          <p:nvPr/>
        </p:nvSpPr>
        <p:spPr>
          <a:xfrm>
            <a:off x="11580379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BB9FFA2-02AF-46C1-9CC6-63574C9F29E6}"/>
              </a:ext>
            </a:extLst>
          </p:cNvPr>
          <p:cNvSpPr/>
          <p:nvPr/>
        </p:nvSpPr>
        <p:spPr>
          <a:xfrm>
            <a:off x="12674099" y="6059016"/>
            <a:ext cx="1227870" cy="122787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5A400CF-6DC7-47E3-A3AD-A7F191D8F0D5}"/>
              </a:ext>
            </a:extLst>
          </p:cNvPr>
          <p:cNvSpPr/>
          <p:nvPr/>
        </p:nvSpPr>
        <p:spPr>
          <a:xfrm>
            <a:off x="1385422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85252DD-DD96-4E0B-8700-A2866889021F}"/>
              </a:ext>
            </a:extLst>
          </p:cNvPr>
          <p:cNvSpPr/>
          <p:nvPr/>
        </p:nvSpPr>
        <p:spPr>
          <a:xfrm>
            <a:off x="7582798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FE7972C-1628-4C1B-AE77-8F4FFDEC5271}"/>
              </a:ext>
            </a:extLst>
          </p:cNvPr>
          <p:cNvSpPr/>
          <p:nvPr/>
        </p:nvSpPr>
        <p:spPr>
          <a:xfrm>
            <a:off x="4484110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23701272-8941-4179-A1C8-BA9AB70778BB}"/>
              </a:ext>
            </a:extLst>
          </p:cNvPr>
          <p:cNvSpPr/>
          <p:nvPr/>
        </p:nvSpPr>
        <p:spPr>
          <a:xfrm>
            <a:off x="12230830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C47464E-2857-404D-A335-06E9BE343B05}"/>
              </a:ext>
            </a:extLst>
          </p:cNvPr>
          <p:cNvSpPr/>
          <p:nvPr/>
        </p:nvSpPr>
        <p:spPr>
          <a:xfrm>
            <a:off x="10681486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01F94CD-723C-4ABA-926B-2D466DD4A5E3}"/>
              </a:ext>
            </a:extLst>
          </p:cNvPr>
          <p:cNvSpPr/>
          <p:nvPr/>
        </p:nvSpPr>
        <p:spPr>
          <a:xfrm>
            <a:off x="9132142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376231C5-A01E-4712-8602-F57FE74042AE}"/>
              </a:ext>
            </a:extLst>
          </p:cNvPr>
          <p:cNvSpPr/>
          <p:nvPr/>
        </p:nvSpPr>
        <p:spPr>
          <a:xfrm>
            <a:off x="6033454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E257689-C7D0-41CD-AB3B-0EAE7E284EB1}"/>
              </a:ext>
            </a:extLst>
          </p:cNvPr>
          <p:cNvSpPr/>
          <p:nvPr/>
        </p:nvSpPr>
        <p:spPr>
          <a:xfrm>
            <a:off x="2934766" y="4724303"/>
            <a:ext cx="886537" cy="1080120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Industry Use Case &amp; Maturity</a:t>
            </a:r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09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F4B68-EFC3-43EA-BBB6-95D56500B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ustry Trends</a:t>
            </a:r>
            <a:br>
              <a:rPr lang="en-GB" dirty="0"/>
            </a:br>
            <a:r>
              <a:rPr lang="en-GB" dirty="0"/>
              <a:t>The Digital Explorer information model – Examp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698C53-62B3-4FDD-8FEB-F51538E18D28}"/>
              </a:ext>
            </a:extLst>
          </p:cNvPr>
          <p:cNvSpPr/>
          <p:nvPr/>
        </p:nvSpPr>
        <p:spPr>
          <a:xfrm>
            <a:off x="759153" y="2166237"/>
            <a:ext cx="8689680" cy="6933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Manufactur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BD4A79-F1FB-494E-89D3-6D69D6D3ED28}"/>
              </a:ext>
            </a:extLst>
          </p:cNvPr>
          <p:cNvGrpSpPr/>
          <p:nvPr/>
        </p:nvGrpSpPr>
        <p:grpSpPr>
          <a:xfrm>
            <a:off x="759153" y="2996711"/>
            <a:ext cx="8689680" cy="693375"/>
            <a:chOff x="762472" y="3334495"/>
            <a:chExt cx="10153128" cy="115212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AD7ABE5-1B90-48A3-8C8B-2DB843F42456}"/>
                </a:ext>
              </a:extLst>
            </p:cNvPr>
            <p:cNvSpPr/>
            <p:nvPr/>
          </p:nvSpPr>
          <p:spPr>
            <a:xfrm>
              <a:off x="5947048" y="3334495"/>
              <a:ext cx="4968552" cy="11521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dirty="0"/>
                <a:t>High-tech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410D1A3-3423-43A1-A2F6-C1D1A240D8CE}"/>
                </a:ext>
              </a:extLst>
            </p:cNvPr>
            <p:cNvSpPr/>
            <p:nvPr/>
          </p:nvSpPr>
          <p:spPr>
            <a:xfrm>
              <a:off x="762472" y="3334495"/>
              <a:ext cx="4968552" cy="11521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dirty="0"/>
                <a:t>Automotive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87B35A7-8E71-481E-8563-9F4167DD1B29}"/>
              </a:ext>
            </a:extLst>
          </p:cNvPr>
          <p:cNvSpPr/>
          <p:nvPr/>
        </p:nvSpPr>
        <p:spPr>
          <a:xfrm>
            <a:off x="1833192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Desig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683C49-8648-4AFD-9A72-F91373EB3B25}"/>
              </a:ext>
            </a:extLst>
          </p:cNvPr>
          <p:cNvSpPr/>
          <p:nvPr/>
        </p:nvSpPr>
        <p:spPr>
          <a:xfrm>
            <a:off x="759154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Business</a:t>
            </a:r>
            <a:br>
              <a:rPr lang="en-GB" sz="1600" dirty="0"/>
            </a:br>
            <a:r>
              <a:rPr lang="en-GB" sz="1600" dirty="0"/>
              <a:t>Mode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FA5752-D8A6-4657-AAEE-5F7A540D218F}"/>
              </a:ext>
            </a:extLst>
          </p:cNvPr>
          <p:cNvSpPr/>
          <p:nvPr/>
        </p:nvSpPr>
        <p:spPr>
          <a:xfrm>
            <a:off x="3982264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ftermarke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715E24-534F-4820-9567-833635E37FEC}"/>
              </a:ext>
            </a:extLst>
          </p:cNvPr>
          <p:cNvSpPr/>
          <p:nvPr/>
        </p:nvSpPr>
        <p:spPr>
          <a:xfrm>
            <a:off x="2908227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Manufactur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8D9512-B721-483B-A3A6-F0D7BC3635BF}"/>
              </a:ext>
            </a:extLst>
          </p:cNvPr>
          <p:cNvSpPr/>
          <p:nvPr/>
        </p:nvSpPr>
        <p:spPr>
          <a:xfrm>
            <a:off x="6270476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Design</a:t>
            </a:r>
            <a:endParaRPr lang="en-GB" sz="16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3D69536-D348-41C6-A166-59F174426699}"/>
              </a:ext>
            </a:extLst>
          </p:cNvPr>
          <p:cNvSpPr/>
          <p:nvPr/>
        </p:nvSpPr>
        <p:spPr>
          <a:xfrm>
            <a:off x="5196438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Business</a:t>
            </a:r>
            <a:br>
              <a:rPr lang="en-GB" sz="1600"/>
            </a:br>
            <a:r>
              <a:rPr lang="en-GB" sz="1600"/>
              <a:t>Models</a:t>
            </a:r>
            <a:endParaRPr lang="en-GB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BFC63C-C0F1-4E76-A963-649CE8F52CCD}"/>
              </a:ext>
            </a:extLst>
          </p:cNvPr>
          <p:cNvSpPr/>
          <p:nvPr/>
        </p:nvSpPr>
        <p:spPr>
          <a:xfrm>
            <a:off x="8419548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Aftermarket</a:t>
            </a:r>
            <a:endParaRPr lang="en-GB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C8F2E0A-F839-47B8-9816-8F97D0B206E2}"/>
              </a:ext>
            </a:extLst>
          </p:cNvPr>
          <p:cNvSpPr/>
          <p:nvPr/>
        </p:nvSpPr>
        <p:spPr>
          <a:xfrm>
            <a:off x="7345511" y="3843931"/>
            <a:ext cx="1029286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Manufacturing</a:t>
            </a:r>
            <a:endParaRPr lang="en-GB" sz="1000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E5C383E-1A26-4660-B835-5DFCFB16BBCE}"/>
              </a:ext>
            </a:extLst>
          </p:cNvPr>
          <p:cNvSpPr/>
          <p:nvPr/>
        </p:nvSpPr>
        <p:spPr>
          <a:xfrm>
            <a:off x="9805716" y="2152049"/>
            <a:ext cx="5070324" cy="6933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Consumer Industries &amp; Retai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C8D1F0-B05D-482A-B279-261B328A7A2B}"/>
              </a:ext>
            </a:extLst>
          </p:cNvPr>
          <p:cNvCxnSpPr>
            <a:cxnSpLocks/>
          </p:cNvCxnSpPr>
          <p:nvPr/>
        </p:nvCxnSpPr>
        <p:spPr>
          <a:xfrm flipH="1" flipV="1">
            <a:off x="1273797" y="5337091"/>
            <a:ext cx="6025966" cy="1510472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71816A1-96B4-4980-8915-8380106D0C54}"/>
              </a:ext>
            </a:extLst>
          </p:cNvPr>
          <p:cNvCxnSpPr>
            <a:cxnSpLocks/>
            <a:stCxn id="37" idx="0"/>
            <a:endCxn id="9" idx="2"/>
          </p:cNvCxnSpPr>
          <p:nvPr/>
        </p:nvCxnSpPr>
        <p:spPr>
          <a:xfrm flipV="1">
            <a:off x="1273797" y="4537306"/>
            <a:ext cx="0" cy="325083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8795A3A-0B90-4EFC-8949-ACF7F61BCEA7}"/>
              </a:ext>
            </a:extLst>
          </p:cNvPr>
          <p:cNvCxnSpPr>
            <a:cxnSpLocks/>
          </p:cNvCxnSpPr>
          <p:nvPr/>
        </p:nvCxnSpPr>
        <p:spPr>
          <a:xfrm flipH="1" flipV="1">
            <a:off x="4511185" y="5278922"/>
            <a:ext cx="2834326" cy="1568642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0CA296C-9CA2-414E-80AF-B10FE6EBB396}"/>
              </a:ext>
            </a:extLst>
          </p:cNvPr>
          <p:cNvCxnSpPr>
            <a:cxnSpLocks/>
          </p:cNvCxnSpPr>
          <p:nvPr/>
        </p:nvCxnSpPr>
        <p:spPr>
          <a:xfrm flipH="1">
            <a:off x="7345511" y="5337091"/>
            <a:ext cx="505656" cy="1479621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72F48DB-8D85-406D-9109-799DC20E2D5E}"/>
              </a:ext>
            </a:extLst>
          </p:cNvPr>
          <p:cNvCxnSpPr>
            <a:cxnSpLocks/>
          </p:cNvCxnSpPr>
          <p:nvPr/>
        </p:nvCxnSpPr>
        <p:spPr>
          <a:xfrm flipH="1">
            <a:off x="7345511" y="5337092"/>
            <a:ext cx="3979717" cy="1510471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C2904F0-FB5D-4E26-BF7F-11982BCF831A}"/>
              </a:ext>
            </a:extLst>
          </p:cNvPr>
          <p:cNvCxnSpPr>
            <a:cxnSpLocks/>
            <a:stCxn id="11" idx="2"/>
            <a:endCxn id="39" idx="0"/>
          </p:cNvCxnSpPr>
          <p:nvPr/>
        </p:nvCxnSpPr>
        <p:spPr>
          <a:xfrm>
            <a:off x="4496907" y="4537306"/>
            <a:ext cx="1" cy="325083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203C32B-168E-406C-87F0-4B846386F0C3}"/>
              </a:ext>
            </a:extLst>
          </p:cNvPr>
          <p:cNvCxnSpPr>
            <a:cxnSpLocks/>
            <a:stCxn id="18" idx="2"/>
            <a:endCxn id="42" idx="0"/>
          </p:cNvCxnSpPr>
          <p:nvPr/>
        </p:nvCxnSpPr>
        <p:spPr>
          <a:xfrm flipH="1">
            <a:off x="7851167" y="4537306"/>
            <a:ext cx="8987" cy="325083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BCAA286-0AD3-4A00-A19F-A20AD3720908}"/>
              </a:ext>
            </a:extLst>
          </p:cNvPr>
          <p:cNvCxnSpPr>
            <a:cxnSpLocks/>
            <a:stCxn id="75" idx="2"/>
            <a:endCxn id="41" idx="0"/>
          </p:cNvCxnSpPr>
          <p:nvPr/>
        </p:nvCxnSpPr>
        <p:spPr>
          <a:xfrm>
            <a:off x="11373011" y="4537306"/>
            <a:ext cx="0" cy="325083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F5AFEBA-B52C-48A0-B73A-90CF93B636AD}"/>
              </a:ext>
            </a:extLst>
          </p:cNvPr>
          <p:cNvSpPr/>
          <p:nvPr/>
        </p:nvSpPr>
        <p:spPr>
          <a:xfrm>
            <a:off x="6767803" y="6255058"/>
            <a:ext cx="1109662" cy="1109662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Trend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5A400CF-6DC7-47E3-A3AD-A7F191D8F0D5}"/>
              </a:ext>
            </a:extLst>
          </p:cNvPr>
          <p:cNvSpPr/>
          <p:nvPr/>
        </p:nvSpPr>
        <p:spPr>
          <a:xfrm>
            <a:off x="873202" y="4862389"/>
            <a:ext cx="801189" cy="976136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Industry Use Case &amp; Maturity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CFE7972C-1628-4C1B-AE77-8F4FFDEC5271}"/>
              </a:ext>
            </a:extLst>
          </p:cNvPr>
          <p:cNvSpPr/>
          <p:nvPr/>
        </p:nvSpPr>
        <p:spPr>
          <a:xfrm>
            <a:off x="4096313" y="4862389"/>
            <a:ext cx="801189" cy="976136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Industry Use Case &amp; Maturity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C47464E-2857-404D-A335-06E9BE343B05}"/>
              </a:ext>
            </a:extLst>
          </p:cNvPr>
          <p:cNvSpPr/>
          <p:nvPr/>
        </p:nvSpPr>
        <p:spPr>
          <a:xfrm>
            <a:off x="10972416" y="4862389"/>
            <a:ext cx="801189" cy="976136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Industry Use Case &amp; Maturity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01F94CD-723C-4ABA-926B-2D466DD4A5E3}"/>
              </a:ext>
            </a:extLst>
          </p:cNvPr>
          <p:cNvSpPr/>
          <p:nvPr/>
        </p:nvSpPr>
        <p:spPr>
          <a:xfrm>
            <a:off x="7450572" y="4862389"/>
            <a:ext cx="801189" cy="976136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100">
                <a:solidFill>
                  <a:schemeClr val="tx1"/>
                </a:solidFill>
              </a:rPr>
              <a:t>Industry Use Case &amp; Maturity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7DF34A1-BCFF-4046-AA4F-3E2258FB88B7}"/>
              </a:ext>
            </a:extLst>
          </p:cNvPr>
          <p:cNvSpPr/>
          <p:nvPr/>
        </p:nvSpPr>
        <p:spPr>
          <a:xfrm>
            <a:off x="9779869" y="3032175"/>
            <a:ext cx="4252397" cy="693375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Retail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C903849-1210-42B9-BEDD-C6A15FD3F19E}"/>
              </a:ext>
            </a:extLst>
          </p:cNvPr>
          <p:cNvGrpSpPr/>
          <p:nvPr/>
        </p:nvGrpSpPr>
        <p:grpSpPr>
          <a:xfrm>
            <a:off x="9784330" y="3843931"/>
            <a:ext cx="4252396" cy="693375"/>
            <a:chOff x="7417850" y="4635947"/>
            <a:chExt cx="6378070" cy="1152128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2FD28F2-E36F-4255-A0DD-166BA1D34718}"/>
                </a:ext>
              </a:extLst>
            </p:cNvPr>
            <p:cNvSpPr/>
            <p:nvPr/>
          </p:nvSpPr>
          <p:spPr>
            <a:xfrm>
              <a:off x="9028774" y="4635947"/>
              <a:ext cx="1543802" cy="11521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Customer Experience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1399017-5F2C-4CE8-9874-7EB45E64C5C0}"/>
                </a:ext>
              </a:extLst>
            </p:cNvPr>
            <p:cNvSpPr/>
            <p:nvPr/>
          </p:nvSpPr>
          <p:spPr>
            <a:xfrm>
              <a:off x="7417850" y="4635947"/>
              <a:ext cx="1543802" cy="11521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/>
                <a:t>Business</a:t>
              </a:r>
              <a:br>
                <a:rPr lang="en-GB" sz="1600" dirty="0"/>
              </a:br>
              <a:r>
                <a:rPr lang="en-GB" sz="1600" dirty="0"/>
                <a:t>Models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3927D68-46C3-4127-8494-FA89173A7003}"/>
                </a:ext>
              </a:extLst>
            </p:cNvPr>
            <p:cNvSpPr/>
            <p:nvPr/>
          </p:nvSpPr>
          <p:spPr>
            <a:xfrm>
              <a:off x="12252118" y="4635947"/>
              <a:ext cx="1543802" cy="11521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/>
                <a:t>People &amp; Assets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7244308-D4FA-4DF1-82ED-2E506AC7E3EA}"/>
                </a:ext>
              </a:extLst>
            </p:cNvPr>
            <p:cNvSpPr/>
            <p:nvPr/>
          </p:nvSpPr>
          <p:spPr>
            <a:xfrm>
              <a:off x="10641194" y="4635947"/>
              <a:ext cx="1543802" cy="1152128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/>
                <a:t>Supply Cha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73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3DF4C2A0-DC5C-4B3C-8125-48D2C3091A13}"/>
              </a:ext>
            </a:extLst>
          </p:cNvPr>
          <p:cNvGrpSpPr/>
          <p:nvPr/>
        </p:nvGrpSpPr>
        <p:grpSpPr>
          <a:xfrm>
            <a:off x="2617910" y="5864225"/>
            <a:ext cx="9155695" cy="1725612"/>
            <a:chOff x="2617910" y="5864225"/>
            <a:chExt cx="9155695" cy="1725612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45F3BBF-D4B6-41A1-AB9E-46A3575354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54863" y="5871049"/>
              <a:ext cx="2290648" cy="1243782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716AAF3-E2E2-451C-B6B1-A7914F8D79B8}"/>
                </a:ext>
              </a:extLst>
            </p:cNvPr>
            <p:cNvCxnSpPr>
              <a:cxnSpLocks/>
            </p:cNvCxnSpPr>
            <p:nvPr/>
          </p:nvCxnSpPr>
          <p:spPr>
            <a:xfrm>
              <a:off x="7299763" y="5871049"/>
              <a:ext cx="1822647" cy="1250606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C48F404-9684-4063-B966-4CA1C6B58570}"/>
                </a:ext>
              </a:extLst>
            </p:cNvPr>
            <p:cNvCxnSpPr>
              <a:cxnSpLocks/>
            </p:cNvCxnSpPr>
            <p:nvPr/>
          </p:nvCxnSpPr>
          <p:spPr>
            <a:xfrm>
              <a:off x="7299762" y="5864225"/>
              <a:ext cx="3998837" cy="1174210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7C033EFE-148A-4833-AD7D-1F931365D50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88169" y="5864225"/>
              <a:ext cx="4257342" cy="1132215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C2ABF4A-6325-4AD8-913B-5D13DDEAC0AD}"/>
                </a:ext>
              </a:extLst>
            </p:cNvPr>
            <p:cNvSpPr/>
            <p:nvPr/>
          </p:nvSpPr>
          <p:spPr>
            <a:xfrm>
              <a:off x="2617910" y="6529559"/>
              <a:ext cx="950011" cy="950011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/>
                <a:t>Solution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60ECA56-B242-467D-9EDF-8C3C2E08DAA5}"/>
                </a:ext>
              </a:extLst>
            </p:cNvPr>
            <p:cNvSpPr/>
            <p:nvPr/>
          </p:nvSpPr>
          <p:spPr>
            <a:xfrm>
              <a:off x="4600026" y="6639826"/>
              <a:ext cx="950011" cy="950011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/>
                <a:t>Solution</a:t>
              </a: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1FCD797-E187-4720-A922-AA3F3B931137}"/>
                </a:ext>
              </a:extLst>
            </p:cNvPr>
            <p:cNvSpPr/>
            <p:nvPr/>
          </p:nvSpPr>
          <p:spPr>
            <a:xfrm>
              <a:off x="8647405" y="6639826"/>
              <a:ext cx="950011" cy="950011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/>
                <a:t>Solution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7B13406-543C-4011-9EEA-D183E8E7E87B}"/>
                </a:ext>
              </a:extLst>
            </p:cNvPr>
            <p:cNvSpPr/>
            <p:nvPr/>
          </p:nvSpPr>
          <p:spPr>
            <a:xfrm>
              <a:off x="10823594" y="6548209"/>
              <a:ext cx="950011" cy="950011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/>
                <a:t>Solution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9FF4B68-EFC3-43EA-BBB6-95D56500B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ustry Trends &amp; Solution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AD512F6-88E5-467C-826E-4F5AE44F467A}"/>
              </a:ext>
            </a:extLst>
          </p:cNvPr>
          <p:cNvGrpSpPr/>
          <p:nvPr/>
        </p:nvGrpSpPr>
        <p:grpSpPr>
          <a:xfrm>
            <a:off x="759153" y="2152049"/>
            <a:ext cx="14116887" cy="5212671"/>
            <a:chOff x="759153" y="2152049"/>
            <a:chExt cx="14116887" cy="521267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C698C53-62B3-4FDD-8FEB-F51538E18D28}"/>
                </a:ext>
              </a:extLst>
            </p:cNvPr>
            <p:cNvSpPr/>
            <p:nvPr/>
          </p:nvSpPr>
          <p:spPr>
            <a:xfrm>
              <a:off x="759153" y="2166237"/>
              <a:ext cx="8689680" cy="6933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Manufacturing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FBD4A79-F1FB-494E-89D3-6D69D6D3ED28}"/>
                </a:ext>
              </a:extLst>
            </p:cNvPr>
            <p:cNvGrpSpPr/>
            <p:nvPr/>
          </p:nvGrpSpPr>
          <p:grpSpPr>
            <a:xfrm>
              <a:off x="759153" y="2996711"/>
              <a:ext cx="8689680" cy="693375"/>
              <a:chOff x="762472" y="3334495"/>
              <a:chExt cx="10153128" cy="1152128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AD7ABE5-1B90-48A3-8C8B-2DB843F42456}"/>
                  </a:ext>
                </a:extLst>
              </p:cNvPr>
              <p:cNvSpPr/>
              <p:nvPr/>
            </p:nvSpPr>
            <p:spPr>
              <a:xfrm>
                <a:off x="5947048" y="3334495"/>
                <a:ext cx="496855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dirty="0"/>
                  <a:t>High-tech</a:t>
                </a: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410D1A3-3423-43A1-A2F6-C1D1A240D8CE}"/>
                  </a:ext>
                </a:extLst>
              </p:cNvPr>
              <p:cNvSpPr/>
              <p:nvPr/>
            </p:nvSpPr>
            <p:spPr>
              <a:xfrm>
                <a:off x="762472" y="3334495"/>
                <a:ext cx="496855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dirty="0"/>
                  <a:t>Automotive</a:t>
                </a: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87B35A7-8E71-481E-8563-9F4167DD1B29}"/>
                </a:ext>
              </a:extLst>
            </p:cNvPr>
            <p:cNvSpPr/>
            <p:nvPr/>
          </p:nvSpPr>
          <p:spPr>
            <a:xfrm>
              <a:off x="1833192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/>
                <a:t>Desig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D683C49-8648-4AFD-9A72-F91373EB3B25}"/>
                </a:ext>
              </a:extLst>
            </p:cNvPr>
            <p:cNvSpPr/>
            <p:nvPr/>
          </p:nvSpPr>
          <p:spPr>
            <a:xfrm>
              <a:off x="759154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dirty="0"/>
                <a:t>Business</a:t>
              </a:r>
              <a:br>
                <a:rPr lang="en-GB" sz="1600" dirty="0"/>
              </a:br>
              <a:r>
                <a:rPr lang="en-GB" sz="1600" dirty="0"/>
                <a:t>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3FA5752-D8A6-4657-AAEE-5F7A540D218F}"/>
                </a:ext>
              </a:extLst>
            </p:cNvPr>
            <p:cNvSpPr/>
            <p:nvPr/>
          </p:nvSpPr>
          <p:spPr>
            <a:xfrm>
              <a:off x="3982264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Aftermarke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E715E24-534F-4820-9567-833635E37FEC}"/>
                </a:ext>
              </a:extLst>
            </p:cNvPr>
            <p:cNvSpPr/>
            <p:nvPr/>
          </p:nvSpPr>
          <p:spPr>
            <a:xfrm>
              <a:off x="2908227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/>
                <a:t>Manufacturing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8D9512-B721-483B-A3A6-F0D7BC3635BF}"/>
                </a:ext>
              </a:extLst>
            </p:cNvPr>
            <p:cNvSpPr/>
            <p:nvPr/>
          </p:nvSpPr>
          <p:spPr>
            <a:xfrm>
              <a:off x="6270476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/>
                <a:t>Design</a:t>
              </a:r>
              <a:endParaRPr lang="en-GB" sz="16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D69536-D348-41C6-A166-59F174426699}"/>
                </a:ext>
              </a:extLst>
            </p:cNvPr>
            <p:cNvSpPr/>
            <p:nvPr/>
          </p:nvSpPr>
          <p:spPr>
            <a:xfrm>
              <a:off x="5196438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/>
                <a:t>Business</a:t>
              </a:r>
              <a:br>
                <a:rPr lang="en-GB" sz="1600"/>
              </a:br>
              <a:r>
                <a:rPr lang="en-GB" sz="1600"/>
                <a:t>Models</a:t>
              </a:r>
              <a:endParaRPr lang="en-GB" sz="16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BFC63C-C0F1-4E76-A963-649CE8F52CCD}"/>
                </a:ext>
              </a:extLst>
            </p:cNvPr>
            <p:cNvSpPr/>
            <p:nvPr/>
          </p:nvSpPr>
          <p:spPr>
            <a:xfrm>
              <a:off x="8419548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/>
                <a:t>Aftermarket</a:t>
              </a:r>
              <a:endParaRPr lang="en-GB" sz="12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C8F2E0A-F839-47B8-9816-8F97D0B206E2}"/>
                </a:ext>
              </a:extLst>
            </p:cNvPr>
            <p:cNvSpPr/>
            <p:nvPr/>
          </p:nvSpPr>
          <p:spPr>
            <a:xfrm>
              <a:off x="7345511" y="3843931"/>
              <a:ext cx="1029286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/>
                <a:t>Manufacturing</a:t>
              </a:r>
              <a:endParaRPr lang="en-GB" sz="1000" dirty="0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E5C383E-1A26-4660-B835-5DFCFB16BBCE}"/>
                </a:ext>
              </a:extLst>
            </p:cNvPr>
            <p:cNvSpPr/>
            <p:nvPr/>
          </p:nvSpPr>
          <p:spPr>
            <a:xfrm>
              <a:off x="9805716" y="2152049"/>
              <a:ext cx="5070324" cy="6933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</a:rPr>
                <a:t>Consumer Industries &amp; Retail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5C8D1F0-B05D-482A-B279-261B328A7A2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73797" y="5337091"/>
              <a:ext cx="6025966" cy="1510472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71816A1-96B4-4980-8915-8380106D0C54}"/>
                </a:ext>
              </a:extLst>
            </p:cNvPr>
            <p:cNvCxnSpPr>
              <a:cxnSpLocks/>
              <a:stCxn id="37" idx="0"/>
              <a:endCxn id="9" idx="2"/>
            </p:cNvCxnSpPr>
            <p:nvPr/>
          </p:nvCxnSpPr>
          <p:spPr>
            <a:xfrm flipV="1">
              <a:off x="1273797" y="4537306"/>
              <a:ext cx="0" cy="325083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A8795A3A-0B90-4EFC-8949-ACF7F61BCEA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11185" y="5278922"/>
              <a:ext cx="2834326" cy="1568642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90CA296C-9CA2-414E-80AF-B10FE6EBB3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45511" y="5337091"/>
              <a:ext cx="505656" cy="1479621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972F48DB-8D85-406D-9109-799DC20E2D5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45511" y="5337092"/>
              <a:ext cx="3979717" cy="1510471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C2904F0-FB5D-4E26-BF7F-11982BCF831A}"/>
                </a:ext>
              </a:extLst>
            </p:cNvPr>
            <p:cNvCxnSpPr>
              <a:cxnSpLocks/>
              <a:stCxn id="11" idx="2"/>
              <a:endCxn id="39" idx="0"/>
            </p:cNvCxnSpPr>
            <p:nvPr/>
          </p:nvCxnSpPr>
          <p:spPr>
            <a:xfrm>
              <a:off x="4496907" y="4537306"/>
              <a:ext cx="1" cy="325083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203C32B-168E-406C-87F0-4B846386F0C3}"/>
                </a:ext>
              </a:extLst>
            </p:cNvPr>
            <p:cNvCxnSpPr>
              <a:cxnSpLocks/>
              <a:stCxn id="18" idx="2"/>
              <a:endCxn id="42" idx="0"/>
            </p:cNvCxnSpPr>
            <p:nvPr/>
          </p:nvCxnSpPr>
          <p:spPr>
            <a:xfrm flipH="1">
              <a:off x="7851167" y="4537306"/>
              <a:ext cx="8987" cy="325083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BCAA286-0AD3-4A00-A19F-A20AD3720908}"/>
                </a:ext>
              </a:extLst>
            </p:cNvPr>
            <p:cNvCxnSpPr>
              <a:cxnSpLocks/>
              <a:stCxn id="75" idx="2"/>
              <a:endCxn id="41" idx="0"/>
            </p:cNvCxnSpPr>
            <p:nvPr/>
          </p:nvCxnSpPr>
          <p:spPr>
            <a:xfrm>
              <a:off x="11373011" y="4537306"/>
              <a:ext cx="0" cy="325083"/>
            </a:xfrm>
            <a:prstGeom prst="line">
              <a:avLst/>
            </a:prstGeom>
            <a:ln w="381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F5AFEBA-B52C-48A0-B73A-90CF93B636AD}"/>
                </a:ext>
              </a:extLst>
            </p:cNvPr>
            <p:cNvSpPr/>
            <p:nvPr/>
          </p:nvSpPr>
          <p:spPr>
            <a:xfrm>
              <a:off x="6767803" y="6255058"/>
              <a:ext cx="1109662" cy="1109662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>
                  <a:solidFill>
                    <a:schemeClr val="tx1"/>
                  </a:solidFill>
                </a:rPr>
                <a:t>Trend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F5A400CF-6DC7-47E3-A3AD-A7F191D8F0D5}"/>
                </a:ext>
              </a:extLst>
            </p:cNvPr>
            <p:cNvSpPr/>
            <p:nvPr/>
          </p:nvSpPr>
          <p:spPr>
            <a:xfrm>
              <a:off x="873202" y="4862389"/>
              <a:ext cx="801189" cy="976136"/>
            </a:xfrm>
            <a:prstGeom prst="roundRect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chemeClr val="tx1"/>
                  </a:solidFill>
                </a:rPr>
                <a:t>Industry Use Case &amp; Maturity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CFE7972C-1628-4C1B-AE77-8F4FFDEC5271}"/>
                </a:ext>
              </a:extLst>
            </p:cNvPr>
            <p:cNvSpPr/>
            <p:nvPr/>
          </p:nvSpPr>
          <p:spPr>
            <a:xfrm>
              <a:off x="4096313" y="4862389"/>
              <a:ext cx="801189" cy="976136"/>
            </a:xfrm>
            <a:prstGeom prst="roundRect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chemeClr val="tx1"/>
                  </a:solidFill>
                </a:rPr>
                <a:t>Industry Use Case &amp; Maturity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C47464E-2857-404D-A335-06E9BE343B05}"/>
                </a:ext>
              </a:extLst>
            </p:cNvPr>
            <p:cNvSpPr/>
            <p:nvPr/>
          </p:nvSpPr>
          <p:spPr>
            <a:xfrm>
              <a:off x="10972416" y="4862389"/>
              <a:ext cx="801189" cy="976136"/>
            </a:xfrm>
            <a:prstGeom prst="roundRect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chemeClr val="tx1"/>
                  </a:solidFill>
                </a:rPr>
                <a:t>Industry Use Case &amp; Maturity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01F94CD-723C-4ABA-926B-2D466DD4A5E3}"/>
                </a:ext>
              </a:extLst>
            </p:cNvPr>
            <p:cNvSpPr/>
            <p:nvPr/>
          </p:nvSpPr>
          <p:spPr>
            <a:xfrm>
              <a:off x="7450572" y="4862389"/>
              <a:ext cx="801189" cy="976136"/>
            </a:xfrm>
            <a:prstGeom prst="roundRect">
              <a:avLst/>
            </a:prstGeom>
            <a:solidFill>
              <a:schemeClr val="accent3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>
                  <a:solidFill>
                    <a:schemeClr val="tx1"/>
                  </a:solidFill>
                </a:rPr>
                <a:t>Industry Use Case &amp; Maturity</a:t>
              </a:r>
              <a:endParaRPr lang="en-GB" sz="1100" dirty="0">
                <a:solidFill>
                  <a:schemeClr val="tx1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F7DF34A1-BCFF-4046-AA4F-3E2258FB88B7}"/>
                </a:ext>
              </a:extLst>
            </p:cNvPr>
            <p:cNvSpPr/>
            <p:nvPr/>
          </p:nvSpPr>
          <p:spPr>
            <a:xfrm>
              <a:off x="9779869" y="3032175"/>
              <a:ext cx="4252397" cy="693375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dirty="0"/>
                <a:t>Retail</a:t>
              </a: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FC903849-1210-42B9-BEDD-C6A15FD3F19E}"/>
                </a:ext>
              </a:extLst>
            </p:cNvPr>
            <p:cNvGrpSpPr/>
            <p:nvPr/>
          </p:nvGrpSpPr>
          <p:grpSpPr>
            <a:xfrm>
              <a:off x="9784330" y="3843931"/>
              <a:ext cx="4252396" cy="693375"/>
              <a:chOff x="7417850" y="4635947"/>
              <a:chExt cx="6378070" cy="1152128"/>
            </a:xfrm>
          </p:grpSpPr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2FD28F2-E36F-4255-A0DD-166BA1D34718}"/>
                  </a:ext>
                </a:extLst>
              </p:cNvPr>
              <p:cNvSpPr/>
              <p:nvPr/>
            </p:nvSpPr>
            <p:spPr>
              <a:xfrm>
                <a:off x="9028774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dirty="0"/>
                  <a:t>Customer Experience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C1399017-5F2C-4CE8-9874-7EB45E64C5C0}"/>
                  </a:ext>
                </a:extLst>
              </p:cNvPr>
              <p:cNvSpPr/>
              <p:nvPr/>
            </p:nvSpPr>
            <p:spPr>
              <a:xfrm>
                <a:off x="7417850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600" dirty="0"/>
                  <a:t>Business</a:t>
                </a:r>
                <a:br>
                  <a:rPr lang="en-GB" sz="1600" dirty="0"/>
                </a:br>
                <a:r>
                  <a:rPr lang="en-GB" sz="1600" dirty="0"/>
                  <a:t>Models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83927D68-46C3-4127-8494-FA89173A7003}"/>
                  </a:ext>
                </a:extLst>
              </p:cNvPr>
              <p:cNvSpPr/>
              <p:nvPr/>
            </p:nvSpPr>
            <p:spPr>
              <a:xfrm>
                <a:off x="12252118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600" dirty="0"/>
                  <a:t>People &amp; Assets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67244308-D4FA-4DF1-82ED-2E506AC7E3EA}"/>
                  </a:ext>
                </a:extLst>
              </p:cNvPr>
              <p:cNvSpPr/>
              <p:nvPr/>
            </p:nvSpPr>
            <p:spPr>
              <a:xfrm>
                <a:off x="10641194" y="4635947"/>
                <a:ext cx="1543802" cy="115212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600" dirty="0"/>
                  <a:t>Supply Chain</a:t>
                </a: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27EB20-D952-426E-8946-E069E304C775}"/>
              </a:ext>
            </a:extLst>
          </p:cNvPr>
          <p:cNvGrpSpPr/>
          <p:nvPr/>
        </p:nvGrpSpPr>
        <p:grpSpPr>
          <a:xfrm>
            <a:off x="911980" y="3970784"/>
            <a:ext cx="11688561" cy="4033007"/>
            <a:chOff x="911980" y="3970784"/>
            <a:chExt cx="11688561" cy="4033007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244A04E-A0D1-4B56-A149-4A4683DC52B7}"/>
                </a:ext>
              </a:extLst>
            </p:cNvPr>
            <p:cNvSpPr/>
            <p:nvPr/>
          </p:nvSpPr>
          <p:spPr>
            <a:xfrm>
              <a:off x="11490883" y="7123126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681260F-DBC9-4CAA-B46D-9FBB35CAC1FB}"/>
                </a:ext>
              </a:extLst>
            </p:cNvPr>
            <p:cNvSpPr/>
            <p:nvPr/>
          </p:nvSpPr>
          <p:spPr>
            <a:xfrm>
              <a:off x="11887654" y="3984151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6B1204D9-EC29-48D8-AC7B-727E722A472B}"/>
                </a:ext>
              </a:extLst>
            </p:cNvPr>
            <p:cNvSpPr/>
            <p:nvPr/>
          </p:nvSpPr>
          <p:spPr>
            <a:xfrm>
              <a:off x="911980" y="4907497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7189F87-66DE-40E7-8D51-96C387D1915C}"/>
                </a:ext>
              </a:extLst>
            </p:cNvPr>
            <p:cNvSpPr/>
            <p:nvPr/>
          </p:nvSpPr>
          <p:spPr>
            <a:xfrm>
              <a:off x="9141174" y="7275526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E3E4A0CE-D925-4BF5-9D9C-37E228F75D09}"/>
                </a:ext>
              </a:extLst>
            </p:cNvPr>
            <p:cNvSpPr/>
            <p:nvPr/>
          </p:nvSpPr>
          <p:spPr>
            <a:xfrm>
              <a:off x="3294225" y="3970784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C546DBBC-4138-467B-9F97-B65318DA89EB}"/>
                </a:ext>
              </a:extLst>
            </p:cNvPr>
            <p:cNvSpPr/>
            <p:nvPr/>
          </p:nvSpPr>
          <p:spPr>
            <a:xfrm>
              <a:off x="4298663" y="7290904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F678D2E-5FD4-4CA1-942C-2C365AB513BF}"/>
                </a:ext>
              </a:extLst>
            </p:cNvPr>
            <p:cNvSpPr/>
            <p:nvPr/>
          </p:nvSpPr>
          <p:spPr>
            <a:xfrm>
              <a:off x="2724453" y="7204008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803294DD-EA7A-443B-8F36-8B2580DD7D9B}"/>
                </a:ext>
              </a:extLst>
            </p:cNvPr>
            <p:cNvSpPr/>
            <p:nvPr/>
          </p:nvSpPr>
          <p:spPr>
            <a:xfrm>
              <a:off x="8356822" y="3984151"/>
              <a:ext cx="712887" cy="71288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Peop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231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0556E-6 5E-6 L 1.80556E-6 -0.125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05169-705A-46E3-BDB8-583060164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our Digital Workspa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B2C0F-3D3B-42F6-B125-71948AAF1B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5837312" cy="5121275"/>
          </a:xfrm>
        </p:spPr>
        <p:txBody>
          <a:bodyPr/>
          <a:lstStyle/>
          <a:p>
            <a:r>
              <a:rPr lang="en-GB" dirty="0"/>
              <a:t>You can save trends, solutions and other documents into your team’s Digital Workspac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598F5D-1414-4078-9E92-BE6A73DAD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489" y="3114428"/>
            <a:ext cx="5381210" cy="361905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829856A-EA33-4FB2-A594-24D2C5EF2D70}"/>
              </a:ext>
            </a:extLst>
          </p:cNvPr>
          <p:cNvSpPr/>
          <p:nvPr/>
        </p:nvSpPr>
        <p:spPr>
          <a:xfrm>
            <a:off x="4483588" y="5877126"/>
            <a:ext cx="1921817" cy="990027"/>
          </a:xfrm>
          <a:prstGeom prst="roundRect">
            <a:avLst>
              <a:gd name="adj" fmla="val 5394"/>
            </a:avLst>
          </a:prstGeom>
          <a:noFill/>
          <a:ln w="7620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FEE84B-D89C-4DB8-8FCE-2565236BA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1631" y="1773421"/>
            <a:ext cx="7969704" cy="459871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6CC92DA-A742-4963-B9EC-312298C6022C}"/>
              </a:ext>
            </a:extLst>
          </p:cNvPr>
          <p:cNvSpPr/>
          <p:nvPr/>
        </p:nvSpPr>
        <p:spPr>
          <a:xfrm>
            <a:off x="8683352" y="6494128"/>
            <a:ext cx="3600400" cy="6840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tx1"/>
                </a:solidFill>
              </a:rPr>
              <a:t>Add team members, notes and other cont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01E7FD-B829-4F29-8843-80760C3ED5D2}"/>
              </a:ext>
            </a:extLst>
          </p:cNvPr>
          <p:cNvSpPr/>
          <p:nvPr/>
        </p:nvSpPr>
        <p:spPr>
          <a:xfrm>
            <a:off x="906489" y="1253882"/>
            <a:ext cx="3600400" cy="6840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b="1" dirty="0">
                <a:solidFill>
                  <a:schemeClr val="tx1"/>
                </a:solidFill>
              </a:rPr>
              <a:t>Login with your Global Pass ID</a:t>
            </a:r>
          </a:p>
        </p:txBody>
      </p:sp>
    </p:spTree>
    <p:extLst>
      <p:ext uri="{BB962C8B-B14F-4D97-AF65-F5344CB8AC3E}">
        <p14:creationId xmlns:p14="http://schemas.microsoft.com/office/powerpoint/2010/main" val="330279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A515D-8F78-4424-B76F-4256881C607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648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E68B45-D0DD-4885-9E71-C2ED2A5D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5347" y="4330823"/>
            <a:ext cx="4114800" cy="230425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troduction vide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tailed videos for each modu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id you know quick guid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7F4EB57-7DA7-4C39-9DE0-63DEEBA05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57800" y="4330823"/>
            <a:ext cx="4114800" cy="28478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Release notes and vide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General discuss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52DC0F19-6C50-4341-8C1F-51B2D8473B3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9855696" y="4330823"/>
            <a:ext cx="4114800" cy="28478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SDK (datamodel, API’s, sandbox detail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nhancement reques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Defec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0DBF31-32A0-40DC-9065-FC0B9858B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/>
              <a:t>Learn More, Join the conversation, become part of the team</a:t>
            </a:r>
            <a:endParaRPr lang="en-GB" sz="3600" dirty="0"/>
          </a:p>
        </p:txBody>
      </p:sp>
      <p:pic>
        <p:nvPicPr>
          <p:cNvPr id="10" name="Picture 2" descr="Image result for workplace logo">
            <a:extLst>
              <a:ext uri="{FF2B5EF4-FFF2-40B4-BE49-F238E27FC236}">
                <a16:creationId xmlns:a16="http://schemas.microsoft.com/office/drawing/2014/main" id="{85FABBFE-5D78-4C60-B598-BF0C84AFC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929" y="2249619"/>
            <a:ext cx="4662542" cy="1766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01D6313-81D5-44FC-86F4-A6FE9F1721DC}"/>
              </a:ext>
            </a:extLst>
          </p:cNvPr>
          <p:cNvGrpSpPr/>
          <p:nvPr/>
        </p:nvGrpSpPr>
        <p:grpSpPr>
          <a:xfrm>
            <a:off x="9855696" y="2708359"/>
            <a:ext cx="4114800" cy="848680"/>
            <a:chOff x="4067269" y="3384828"/>
            <a:chExt cx="9877331" cy="2037206"/>
          </a:xfrm>
        </p:grpSpPr>
        <p:pic>
          <p:nvPicPr>
            <p:cNvPr id="2052" name="Picture 4" descr="Image result for github logo">
              <a:extLst>
                <a:ext uri="{FF2B5EF4-FFF2-40B4-BE49-F238E27FC236}">
                  <a16:creationId xmlns:a16="http://schemas.microsoft.com/office/drawing/2014/main" id="{5056F2AC-516C-41E0-A2DC-79C8883669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4600" y="3408069"/>
              <a:ext cx="7620000" cy="1990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E4B79CA-8427-48F3-A5A5-772FD0F79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67269" y="3384828"/>
              <a:ext cx="2037206" cy="2037206"/>
            </a:xfrm>
            <a:prstGeom prst="rect">
              <a:avLst/>
            </a:prstGeom>
          </p:spPr>
        </p:pic>
      </p:grpSp>
      <p:sp>
        <p:nvSpPr>
          <p:cNvPr id="2051" name="Rectangle: Rounded Corners 2050">
            <a:hlinkClick r:id="rId5"/>
            <a:extLst>
              <a:ext uri="{FF2B5EF4-FFF2-40B4-BE49-F238E27FC236}">
                <a16:creationId xmlns:a16="http://schemas.microsoft.com/office/drawing/2014/main" id="{F663BF14-F2A0-4203-AA43-2DC97122E242}"/>
              </a:ext>
            </a:extLst>
          </p:cNvPr>
          <p:cNvSpPr/>
          <p:nvPr/>
        </p:nvSpPr>
        <p:spPr>
          <a:xfrm>
            <a:off x="665347" y="6554361"/>
            <a:ext cx="4114800" cy="584775"/>
          </a:xfrm>
          <a:prstGeom prst="roundRect">
            <a:avLst/>
          </a:prstGeom>
          <a:ln w="3810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video.dxc</a:t>
            </a:r>
          </a:p>
        </p:txBody>
      </p:sp>
      <p:sp>
        <p:nvSpPr>
          <p:cNvPr id="37" name="Rectangle: Rounded Corners 36">
            <a:hlinkClick r:id="rId6"/>
            <a:extLst>
              <a:ext uri="{FF2B5EF4-FFF2-40B4-BE49-F238E27FC236}">
                <a16:creationId xmlns:a16="http://schemas.microsoft.com/office/drawing/2014/main" id="{AD3A205F-E719-4917-B563-0315361C8A5D}"/>
              </a:ext>
            </a:extLst>
          </p:cNvPr>
          <p:cNvSpPr/>
          <p:nvPr/>
        </p:nvSpPr>
        <p:spPr>
          <a:xfrm>
            <a:off x="5257800" y="6554360"/>
            <a:ext cx="4114800" cy="584775"/>
          </a:xfrm>
          <a:prstGeom prst="roundRect">
            <a:avLst/>
          </a:prstGeom>
          <a:ln w="3810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Workplace</a:t>
            </a:r>
          </a:p>
        </p:txBody>
      </p:sp>
      <p:sp>
        <p:nvSpPr>
          <p:cNvPr id="38" name="Rectangle: Rounded Corners 37">
            <a:hlinkClick r:id="rId7"/>
            <a:extLst>
              <a:ext uri="{FF2B5EF4-FFF2-40B4-BE49-F238E27FC236}">
                <a16:creationId xmlns:a16="http://schemas.microsoft.com/office/drawing/2014/main" id="{F559DAF0-6062-448C-89A9-B06A663DFFBF}"/>
              </a:ext>
            </a:extLst>
          </p:cNvPr>
          <p:cNvSpPr/>
          <p:nvPr/>
        </p:nvSpPr>
        <p:spPr>
          <a:xfrm>
            <a:off x="9855696" y="6554361"/>
            <a:ext cx="4114800" cy="584775"/>
          </a:xfrm>
          <a:prstGeom prst="roundRect">
            <a:avLst/>
          </a:prstGeom>
          <a:ln w="38100"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GitHub</a:t>
            </a:r>
          </a:p>
        </p:txBody>
      </p: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CC2F3BB4-8DB8-4DB4-982E-7490CB1B4197}"/>
              </a:ext>
            </a:extLst>
          </p:cNvPr>
          <p:cNvGrpSpPr/>
          <p:nvPr/>
        </p:nvGrpSpPr>
        <p:grpSpPr>
          <a:xfrm>
            <a:off x="1642627" y="2230276"/>
            <a:ext cx="2160240" cy="1804847"/>
            <a:chOff x="1276872" y="2238900"/>
            <a:chExt cx="2160240" cy="1804847"/>
          </a:xfrm>
        </p:grpSpPr>
        <p:sp>
          <p:nvSpPr>
            <p:cNvPr id="39" name="Freeform 61">
              <a:extLst>
                <a:ext uri="{FF2B5EF4-FFF2-40B4-BE49-F238E27FC236}">
                  <a16:creationId xmlns:a16="http://schemas.microsoft.com/office/drawing/2014/main" id="{E9C01721-DDE0-42D6-900C-F3579635203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76872" y="2238900"/>
              <a:ext cx="2160240" cy="1804847"/>
            </a:xfrm>
            <a:custGeom>
              <a:avLst/>
              <a:gdLst>
                <a:gd name="T0" fmla="*/ 412 w 620"/>
                <a:gd name="T1" fmla="*/ 415 h 518"/>
                <a:gd name="T2" fmla="*/ 412 w 620"/>
                <a:gd name="T3" fmla="*/ 468 h 518"/>
                <a:gd name="T4" fmla="*/ 517 w 620"/>
                <a:gd name="T5" fmla="*/ 468 h 518"/>
                <a:gd name="T6" fmla="*/ 517 w 620"/>
                <a:gd name="T7" fmla="*/ 518 h 518"/>
                <a:gd name="T8" fmla="*/ 103 w 620"/>
                <a:gd name="T9" fmla="*/ 518 h 518"/>
                <a:gd name="T10" fmla="*/ 103 w 620"/>
                <a:gd name="T11" fmla="*/ 468 h 518"/>
                <a:gd name="T12" fmla="*/ 206 w 620"/>
                <a:gd name="T13" fmla="*/ 468 h 518"/>
                <a:gd name="T14" fmla="*/ 206 w 620"/>
                <a:gd name="T15" fmla="*/ 415 h 518"/>
                <a:gd name="T16" fmla="*/ 0 w 620"/>
                <a:gd name="T17" fmla="*/ 415 h 518"/>
                <a:gd name="T18" fmla="*/ 0 w 620"/>
                <a:gd name="T19" fmla="*/ 0 h 518"/>
                <a:gd name="T20" fmla="*/ 620 w 620"/>
                <a:gd name="T21" fmla="*/ 0 h 518"/>
                <a:gd name="T22" fmla="*/ 620 w 620"/>
                <a:gd name="T23" fmla="*/ 415 h 518"/>
                <a:gd name="T24" fmla="*/ 412 w 620"/>
                <a:gd name="T25" fmla="*/ 415 h 518"/>
                <a:gd name="T26" fmla="*/ 567 w 620"/>
                <a:gd name="T27" fmla="*/ 53 h 518"/>
                <a:gd name="T28" fmla="*/ 50 w 620"/>
                <a:gd name="T29" fmla="*/ 53 h 518"/>
                <a:gd name="T30" fmla="*/ 50 w 620"/>
                <a:gd name="T31" fmla="*/ 363 h 518"/>
                <a:gd name="T32" fmla="*/ 567 w 620"/>
                <a:gd name="T33" fmla="*/ 363 h 518"/>
                <a:gd name="T34" fmla="*/ 567 w 620"/>
                <a:gd name="T35" fmla="*/ 53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0" h="518">
                  <a:moveTo>
                    <a:pt x="412" y="415"/>
                  </a:moveTo>
                  <a:lnTo>
                    <a:pt x="412" y="468"/>
                  </a:lnTo>
                  <a:lnTo>
                    <a:pt x="517" y="468"/>
                  </a:lnTo>
                  <a:lnTo>
                    <a:pt x="517" y="518"/>
                  </a:lnTo>
                  <a:lnTo>
                    <a:pt x="103" y="518"/>
                  </a:lnTo>
                  <a:lnTo>
                    <a:pt x="103" y="468"/>
                  </a:lnTo>
                  <a:lnTo>
                    <a:pt x="206" y="468"/>
                  </a:lnTo>
                  <a:lnTo>
                    <a:pt x="206" y="415"/>
                  </a:lnTo>
                  <a:lnTo>
                    <a:pt x="0" y="415"/>
                  </a:lnTo>
                  <a:lnTo>
                    <a:pt x="0" y="0"/>
                  </a:lnTo>
                  <a:lnTo>
                    <a:pt x="620" y="0"/>
                  </a:lnTo>
                  <a:lnTo>
                    <a:pt x="620" y="415"/>
                  </a:lnTo>
                  <a:lnTo>
                    <a:pt x="412" y="415"/>
                  </a:lnTo>
                  <a:close/>
                  <a:moveTo>
                    <a:pt x="567" y="53"/>
                  </a:moveTo>
                  <a:lnTo>
                    <a:pt x="50" y="53"/>
                  </a:lnTo>
                  <a:lnTo>
                    <a:pt x="50" y="363"/>
                  </a:lnTo>
                  <a:lnTo>
                    <a:pt x="567" y="363"/>
                  </a:lnTo>
                  <a:lnTo>
                    <a:pt x="567" y="5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2056" name="Picture 2055">
              <a:extLst>
                <a:ext uri="{FF2B5EF4-FFF2-40B4-BE49-F238E27FC236}">
                  <a16:creationId xmlns:a16="http://schemas.microsoft.com/office/drawing/2014/main" id="{0AF01B50-A7E4-4872-870B-876718D0F2C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810393" y="2433325"/>
              <a:ext cx="1093198" cy="770662"/>
            </a:xfrm>
            <a:prstGeom prst="rect">
              <a:avLst/>
            </a:prstGeom>
          </p:spPr>
        </p:pic>
        <p:sp>
          <p:nvSpPr>
            <p:cNvPr id="2057" name="TextBox 2056">
              <a:extLst>
                <a:ext uri="{FF2B5EF4-FFF2-40B4-BE49-F238E27FC236}">
                  <a16:creationId xmlns:a16="http://schemas.microsoft.com/office/drawing/2014/main" id="{AA146F67-1690-4037-A699-A42B2FA591D5}"/>
                </a:ext>
              </a:extLst>
            </p:cNvPr>
            <p:cNvSpPr txBox="1"/>
            <p:nvPr/>
          </p:nvSpPr>
          <p:spPr>
            <a:xfrm>
              <a:off x="1406251" y="3032975"/>
              <a:ext cx="1901483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>
                  <a:latin typeface="GT Walsheim Pro Bold" panose="00000800000000000000" pitchFamily="50" charset="0"/>
                </a:rPr>
                <a:t>video.dx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858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4253E8-6552-4DA0-B064-31F6D130E8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34680" y="2057399"/>
            <a:ext cx="11309920" cy="5121276"/>
          </a:xfrm>
        </p:spPr>
        <p:txBody>
          <a:bodyPr/>
          <a:lstStyle/>
          <a:p>
            <a:r>
              <a:rPr lang="en-GB" dirty="0"/>
              <a:t>David Stevens</a:t>
            </a:r>
          </a:p>
          <a:p>
            <a:r>
              <a:rPr lang="en-GB" b="0" dirty="0"/>
              <a:t>DXC Distinguished Architect</a:t>
            </a:r>
            <a:br>
              <a:rPr lang="en-GB" b="0" dirty="0"/>
            </a:br>
            <a:r>
              <a:rPr lang="en-GB" b="0" dirty="0"/>
              <a:t>Technology Transformation Lead</a:t>
            </a:r>
            <a:br>
              <a:rPr lang="en-GB" b="0" dirty="0"/>
            </a:br>
            <a:r>
              <a:rPr lang="en-GB" b="0" dirty="0"/>
              <a:t>DXC Technology Office</a:t>
            </a:r>
          </a:p>
          <a:p>
            <a:endParaRPr lang="en-GB" dirty="0"/>
          </a:p>
          <a:p>
            <a:r>
              <a:rPr lang="en-GB" dirty="0"/>
              <a:t>Creator, Product Owner and Architect for Digital Explorer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C43CC5E-6BE8-4958-9340-378D4A50C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CB35F1-CEF9-4E77-9868-4D02951F3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2057399"/>
            <a:ext cx="1594520" cy="159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493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0434572" cy="349558"/>
          </a:xfrm>
        </p:spPr>
        <p:txBody>
          <a:bodyPr>
            <a:noAutofit/>
          </a:bodyPr>
          <a:lstStyle/>
          <a:p>
            <a:r>
              <a:rPr lang="en-GB" sz="2800" dirty="0"/>
              <a:t>Digital Dynamics – ‘Strategy Sprints’ to an Actionable Plan</a:t>
            </a:r>
            <a:br>
              <a:rPr lang="en-GB" sz="2800" dirty="0"/>
            </a:br>
            <a:endParaRPr lang="en-US" sz="2800" dirty="0"/>
          </a:p>
        </p:txBody>
      </p:sp>
      <p:sp>
        <p:nvSpPr>
          <p:cNvPr id="37" name="TextBox 36"/>
          <p:cNvSpPr txBox="1"/>
          <p:nvPr/>
        </p:nvSpPr>
        <p:spPr>
          <a:xfrm>
            <a:off x="12039601" y="2748263"/>
            <a:ext cx="22806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 Narrow" panose="020B0606020202030204" pitchFamily="34" charset="0"/>
              </a:rPr>
              <a:t>ACTIONABLE PLAN</a:t>
            </a: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82031" y="3318959"/>
            <a:ext cx="2244814" cy="29096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ight Arrow 5"/>
          <p:cNvSpPr/>
          <p:nvPr/>
        </p:nvSpPr>
        <p:spPr>
          <a:xfrm>
            <a:off x="2583758" y="4493096"/>
            <a:ext cx="9455844" cy="51580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7" name="Oval 76"/>
          <p:cNvSpPr/>
          <p:nvPr/>
        </p:nvSpPr>
        <p:spPr>
          <a:xfrm>
            <a:off x="2148183" y="4378698"/>
            <a:ext cx="709686" cy="72354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9" name="TextBox 78"/>
          <p:cNvSpPr txBox="1"/>
          <p:nvPr/>
        </p:nvSpPr>
        <p:spPr>
          <a:xfrm>
            <a:off x="798000" y="4455117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Initi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669389" y="3250705"/>
            <a:ext cx="2600770" cy="29762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gital Business Agenda</a:t>
            </a:r>
          </a:p>
        </p:txBody>
      </p:sp>
      <p:sp>
        <p:nvSpPr>
          <p:cNvPr id="9" name="Rectangle 8"/>
          <p:cNvSpPr/>
          <p:nvPr/>
        </p:nvSpPr>
        <p:spPr>
          <a:xfrm>
            <a:off x="897989" y="3405884"/>
            <a:ext cx="2158370" cy="87785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Business Discover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7989" y="4824449"/>
            <a:ext cx="2140784" cy="95537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41397" y="1905000"/>
            <a:ext cx="2515943" cy="400110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Arial Narrow" panose="020B0606020202030204" pitchFamily="34" charset="0"/>
              </a:rPr>
              <a:t>DIGITAL RELEVANCE</a:t>
            </a:r>
            <a:endParaRPr lang="en-US" sz="2000" b="1" dirty="0">
              <a:latin typeface="Arial Narrow" panose="020B0606020202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187610" y="3252319"/>
            <a:ext cx="2519369" cy="29762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eadiness / Capability Gap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3563" y="3384789"/>
            <a:ext cx="1036258" cy="110381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0025" y="3436687"/>
            <a:ext cx="1015818" cy="10820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7360" y="4911864"/>
            <a:ext cx="1706155" cy="845953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146939" y="1906614"/>
            <a:ext cx="2602469" cy="400110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 Narrow" panose="020B0606020202030204" pitchFamily="34" charset="0"/>
              </a:rPr>
              <a:t>CAPABILITY NEEDS</a:t>
            </a:r>
          </a:p>
        </p:txBody>
      </p:sp>
      <p:sp>
        <p:nvSpPr>
          <p:cNvPr id="29" name="Left-Right Arrow 28"/>
          <p:cNvSpPr/>
          <p:nvPr/>
        </p:nvSpPr>
        <p:spPr>
          <a:xfrm rot="5400000">
            <a:off x="7161439" y="4561079"/>
            <a:ext cx="415558" cy="245430"/>
          </a:xfrm>
          <a:prstGeom prst="leftRightArrow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8899377" y="3252320"/>
            <a:ext cx="2483296" cy="29762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oadmap and Value Impact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9057" y="3414835"/>
            <a:ext cx="2020243" cy="88326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17984" y="4425677"/>
            <a:ext cx="2002388" cy="146769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TextBox 21"/>
          <p:cNvSpPr txBox="1"/>
          <p:nvPr/>
        </p:nvSpPr>
        <p:spPr>
          <a:xfrm>
            <a:off x="8899377" y="1908864"/>
            <a:ext cx="2483295" cy="400110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 Narrow" panose="020B0606020202030204" pitchFamily="34" charset="0"/>
              </a:rPr>
              <a:t>ROUTE TO VALU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407828" y="3252319"/>
            <a:ext cx="2551164" cy="29762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text and Option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52440" y="3456901"/>
            <a:ext cx="1748858" cy="7109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03355" y="4753445"/>
            <a:ext cx="1788868" cy="1004372"/>
          </a:xfrm>
          <a:prstGeom prst="rect">
            <a:avLst/>
          </a:prstGeom>
          <a:ln>
            <a:solidFill>
              <a:schemeClr val="accent1"/>
            </a:solidFill>
          </a:ln>
          <a:effectLst/>
        </p:spPr>
      </p:pic>
      <p:sp>
        <p:nvSpPr>
          <p:cNvPr id="17" name="TextBox 16"/>
          <p:cNvSpPr txBox="1"/>
          <p:nvPr/>
        </p:nvSpPr>
        <p:spPr>
          <a:xfrm>
            <a:off x="3404357" y="1906614"/>
            <a:ext cx="2557450" cy="400110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 Narrow" panose="020B0606020202030204" pitchFamily="34" charset="0"/>
              </a:rPr>
              <a:t>DIGITAL INTENT</a:t>
            </a:r>
          </a:p>
        </p:txBody>
      </p:sp>
      <p:sp>
        <p:nvSpPr>
          <p:cNvPr id="82" name="Down Arrow 81"/>
          <p:cNvSpPr/>
          <p:nvPr/>
        </p:nvSpPr>
        <p:spPr>
          <a:xfrm>
            <a:off x="4347571" y="4271794"/>
            <a:ext cx="216024" cy="388309"/>
          </a:xfrm>
          <a:prstGeom prst="down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3" name="Down Arrow 82"/>
          <p:cNvSpPr/>
          <p:nvPr/>
        </p:nvSpPr>
        <p:spPr>
          <a:xfrm flipV="1">
            <a:off x="4748381" y="4271794"/>
            <a:ext cx="216024" cy="351476"/>
          </a:xfrm>
          <a:prstGeom prst="down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707689" y="379272"/>
            <a:ext cx="2449636" cy="1684573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06689" y="6851104"/>
            <a:ext cx="11256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THINK</a:t>
            </a:r>
            <a:endParaRPr lang="en-US" sz="24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5601298" y="6851104"/>
            <a:ext cx="13644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DESIGN</a:t>
            </a:r>
            <a:endParaRPr lang="en-US" sz="2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8734754" y="6851104"/>
            <a:ext cx="15183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DELIVER</a:t>
            </a:r>
            <a:endParaRPr lang="en-US" sz="2400" b="1" dirty="0"/>
          </a:p>
        </p:txBody>
      </p:sp>
      <p:sp>
        <p:nvSpPr>
          <p:cNvPr id="38" name="Right Arrow 37"/>
          <p:cNvSpPr/>
          <p:nvPr/>
        </p:nvSpPr>
        <p:spPr>
          <a:xfrm>
            <a:off x="4227604" y="6959261"/>
            <a:ext cx="978408" cy="245350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9" name="Right Arrow 38"/>
          <p:cNvSpPr/>
          <p:nvPr/>
        </p:nvSpPr>
        <p:spPr>
          <a:xfrm>
            <a:off x="7361060" y="6959261"/>
            <a:ext cx="978408" cy="245350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7" name="Straight Connector 6"/>
          <p:cNvCxnSpPr/>
          <p:nvPr/>
        </p:nvCxnSpPr>
        <p:spPr>
          <a:xfrm>
            <a:off x="669390" y="6563072"/>
            <a:ext cx="10713283" cy="0"/>
          </a:xfrm>
          <a:prstGeom prst="line">
            <a:avLst/>
          </a:prstGeom>
          <a:ln w="1905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69389" y="3048000"/>
            <a:ext cx="10713283" cy="0"/>
          </a:xfrm>
          <a:prstGeom prst="line">
            <a:avLst/>
          </a:prstGeom>
          <a:ln w="1905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6" name="Down Arrow 45"/>
          <p:cNvSpPr/>
          <p:nvPr/>
        </p:nvSpPr>
        <p:spPr>
          <a:xfrm>
            <a:off x="1848330" y="4424195"/>
            <a:ext cx="216024" cy="306728"/>
          </a:xfrm>
          <a:prstGeom prst="down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TextBox 39"/>
          <p:cNvSpPr txBox="1"/>
          <p:nvPr/>
        </p:nvSpPr>
        <p:spPr>
          <a:xfrm>
            <a:off x="705060" y="2439454"/>
            <a:ext cx="2571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688" indent="-166688">
              <a:buFont typeface="Arial" panose="020B0604020202020204" pitchFamily="34" charset="0"/>
              <a:buChar char="•"/>
            </a:pPr>
            <a:r>
              <a:rPr lang="en-GB" sz="1400" dirty="0"/>
              <a:t>Why is digital relevant and what value is anticipated?</a:t>
            </a:r>
            <a:endParaRPr lang="en-US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3374204" y="2420848"/>
            <a:ext cx="25847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688" indent="-166688">
              <a:buFont typeface="Arial" panose="020B0604020202020204" pitchFamily="34" charset="0"/>
              <a:buChar char="•"/>
            </a:pPr>
            <a:r>
              <a:rPr lang="en-GB" sz="1400" dirty="0"/>
              <a:t>What are the options and what do we intend to do?</a:t>
            </a:r>
            <a:endParaRPr lang="en-US" sz="1400" dirty="0"/>
          </a:p>
        </p:txBody>
      </p:sp>
      <p:sp>
        <p:nvSpPr>
          <p:cNvPr id="42" name="TextBox 41"/>
          <p:cNvSpPr txBox="1"/>
          <p:nvPr/>
        </p:nvSpPr>
        <p:spPr>
          <a:xfrm>
            <a:off x="6088681" y="2447420"/>
            <a:ext cx="26460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688" indent="-166688">
              <a:buFont typeface="Arial" panose="020B0604020202020204" pitchFamily="34" charset="0"/>
              <a:buChar char="•"/>
            </a:pPr>
            <a:r>
              <a:rPr lang="en-GB" sz="1400" dirty="0"/>
              <a:t>What capabilities are needed to deliver expected value?</a:t>
            </a:r>
            <a:endParaRPr lang="en-US" sz="1400" dirty="0"/>
          </a:p>
        </p:txBody>
      </p:sp>
      <p:sp>
        <p:nvSpPr>
          <p:cNvPr id="43" name="TextBox 42"/>
          <p:cNvSpPr txBox="1"/>
          <p:nvPr/>
        </p:nvSpPr>
        <p:spPr>
          <a:xfrm>
            <a:off x="8859200" y="2434416"/>
            <a:ext cx="25398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688" indent="-166688">
              <a:buFont typeface="Arial" panose="020B0604020202020204" pitchFamily="34" charset="0"/>
              <a:buChar char="•"/>
            </a:pPr>
            <a:r>
              <a:rPr lang="en-GB" sz="1400" dirty="0"/>
              <a:t>What change roadmap leads to value realisation?</a:t>
            </a:r>
            <a:endParaRPr lang="en-US" sz="1400" dirty="0"/>
          </a:p>
        </p:txBody>
      </p:sp>
      <p:sp>
        <p:nvSpPr>
          <p:cNvPr id="3" name="TextBox 2"/>
          <p:cNvSpPr txBox="1"/>
          <p:nvPr/>
        </p:nvSpPr>
        <p:spPr>
          <a:xfrm>
            <a:off x="664907" y="1064553"/>
            <a:ext cx="88230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Model ‘logic’ for client engagement, account and sales planning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4544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8D243D2-21F9-4E04-8A3B-17336F274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 Sess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61A520-923F-4C7A-9DB3-A0E66BC137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057399"/>
            <a:ext cx="11201400" cy="5121275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Digital Explorer 101 : </a:t>
            </a:r>
          </a:p>
          <a:p>
            <a:pPr lvl="1"/>
            <a:r>
              <a:rPr lang="en-GB" dirty="0"/>
              <a:t>Introduction to the platform</a:t>
            </a:r>
          </a:p>
          <a:p>
            <a:pPr lvl="1"/>
            <a:r>
              <a:rPr lang="en-GB" dirty="0"/>
              <a:t>How to use Digital Explorer to support your post Bootcamp 1 activities</a:t>
            </a:r>
          </a:p>
          <a:p>
            <a:pPr lvl="2"/>
            <a:r>
              <a:rPr lang="en-GB" dirty="0"/>
              <a:t>Trends</a:t>
            </a:r>
          </a:p>
          <a:p>
            <a:pPr lvl="3"/>
            <a:r>
              <a:rPr lang="en-GB" dirty="0"/>
              <a:t>The model</a:t>
            </a:r>
          </a:p>
          <a:p>
            <a:pPr lvl="3"/>
            <a:r>
              <a:rPr lang="en-GB" dirty="0"/>
              <a:t>How to navigate the information</a:t>
            </a:r>
          </a:p>
          <a:p>
            <a:pPr lvl="3"/>
            <a:r>
              <a:rPr lang="en-GB" dirty="0"/>
              <a:t>What can you learn about trends?</a:t>
            </a:r>
          </a:p>
          <a:p>
            <a:pPr lvl="2"/>
            <a:r>
              <a:rPr lang="en-GB" dirty="0"/>
              <a:t>Finding solutions</a:t>
            </a:r>
          </a:p>
          <a:p>
            <a:pPr lvl="2"/>
            <a:r>
              <a:rPr lang="en-GB" dirty="0"/>
              <a:t>Workspaces</a:t>
            </a:r>
          </a:p>
          <a:p>
            <a:pPr lvl="2"/>
            <a:endParaRPr lang="en-GB" dirty="0"/>
          </a:p>
          <a:p>
            <a:r>
              <a:rPr lang="en-GB" dirty="0"/>
              <a:t>Digital Explorer 201 : </a:t>
            </a:r>
          </a:p>
          <a:p>
            <a:pPr lvl="1"/>
            <a:r>
              <a:rPr lang="en-GB" dirty="0"/>
              <a:t>Innovation Agendas</a:t>
            </a:r>
          </a:p>
          <a:p>
            <a:pPr lvl="2"/>
            <a:endParaRPr lang="en-GB" dirty="0"/>
          </a:p>
          <a:p>
            <a:r>
              <a:rPr lang="en-GB" dirty="0"/>
              <a:t>Digital Explorer 301 : Collaboration</a:t>
            </a:r>
          </a:p>
        </p:txBody>
      </p:sp>
    </p:spTree>
    <p:extLst>
      <p:ext uri="{BB962C8B-B14F-4D97-AF65-F5344CB8AC3E}">
        <p14:creationId xmlns:p14="http://schemas.microsoft.com/office/powerpoint/2010/main" val="162904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726052" y="5619757"/>
            <a:ext cx="1978845" cy="24400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051246" y="5007089"/>
            <a:ext cx="1350199" cy="311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051246" y="6412217"/>
            <a:ext cx="1377323" cy="1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Oval 12"/>
          <p:cNvSpPr/>
          <p:nvPr/>
        </p:nvSpPr>
        <p:spPr>
          <a:xfrm>
            <a:off x="494972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Industry</a:t>
            </a:r>
          </a:p>
        </p:txBody>
      </p:sp>
      <p:sp>
        <p:nvSpPr>
          <p:cNvPr id="15" name="Oval 14"/>
          <p:cNvSpPr/>
          <p:nvPr/>
        </p:nvSpPr>
        <p:spPr>
          <a:xfrm>
            <a:off x="494972" y="5842992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echnology</a:t>
            </a: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 flipH="1" flipV="1">
            <a:off x="2413887" y="5038283"/>
            <a:ext cx="14682" cy="1373933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4C3E76E-BA13-4F4C-AF1B-53141CC966D4}"/>
              </a:ext>
            </a:extLst>
          </p:cNvPr>
          <p:cNvGrpSpPr/>
          <p:nvPr/>
        </p:nvGrpSpPr>
        <p:grpSpPr>
          <a:xfrm>
            <a:off x="10151202" y="4347631"/>
            <a:ext cx="2623384" cy="2507900"/>
            <a:chOff x="10151202" y="4347631"/>
            <a:chExt cx="2623384" cy="2507900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F3F1FF9-51BD-4687-948B-37A0524884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1202" y="5602661"/>
              <a:ext cx="2611176" cy="573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8EBD0B-5F5A-407E-BBBA-9B38D55E6A64}"/>
              </a:ext>
            </a:extLst>
          </p:cNvPr>
          <p:cNvGrpSpPr/>
          <p:nvPr/>
        </p:nvGrpSpPr>
        <p:grpSpPr>
          <a:xfrm>
            <a:off x="2394053" y="5001268"/>
            <a:ext cx="1664006" cy="1402887"/>
            <a:chOff x="2394053" y="5001268"/>
            <a:chExt cx="1664006" cy="1402887"/>
          </a:xfrm>
        </p:grpSpPr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1893130" y="4479606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Trend</a:t>
            </a:r>
          </a:p>
        </p:txBody>
      </p:sp>
      <p:sp>
        <p:nvSpPr>
          <p:cNvPr id="68" name="Oval 67"/>
          <p:cNvSpPr/>
          <p:nvPr/>
        </p:nvSpPr>
        <p:spPr>
          <a:xfrm>
            <a:off x="1845171" y="5851053"/>
            <a:ext cx="1122327" cy="1122327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100" b="1" dirty="0"/>
              <a:t>Enable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A1C4C40-E52F-477D-87FC-76CA621FA760}"/>
              </a:ext>
            </a:extLst>
          </p:cNvPr>
          <p:cNvGrpSpPr/>
          <p:nvPr/>
        </p:nvGrpSpPr>
        <p:grpSpPr>
          <a:xfrm>
            <a:off x="3550072" y="1042765"/>
            <a:ext cx="3732943" cy="5878913"/>
            <a:chOff x="3550072" y="1042765"/>
            <a:chExt cx="3732943" cy="5878913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CD6BEFE-CF8E-4A20-A878-B450AB07E66F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C5ED887-0032-4C90-8916-09629436D3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4474637" y="1042765"/>
              <a:ext cx="19069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Shape</a:t>
              </a:r>
            </a:p>
          </p:txBody>
        </p:sp>
        <p:cxnSp>
          <p:nvCxnSpPr>
            <p:cNvPr id="63" name="Straight Connector 62"/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4" name="Group 83"/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Innovation Agenda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74637" y="1724265"/>
              <a:ext cx="1908000" cy="1908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2B7451-9EF0-41E8-A63A-DD75C5C7CE93}"/>
              </a:ext>
            </a:extLst>
          </p:cNvPr>
          <p:cNvGrpSpPr/>
          <p:nvPr/>
        </p:nvGrpSpPr>
        <p:grpSpPr>
          <a:xfrm>
            <a:off x="8191609" y="1040409"/>
            <a:ext cx="2520758" cy="6350186"/>
            <a:chOff x="8191609" y="1040409"/>
            <a:chExt cx="2520758" cy="6350186"/>
          </a:xfrm>
        </p:grpSpPr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12639"/>
              <a:ext cx="837267" cy="0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0D043C-33DC-4A3E-AB75-1177A2BB86DA}"/>
                </a:ext>
              </a:extLst>
            </p:cNvPr>
            <p:cNvGrpSpPr/>
            <p:nvPr/>
          </p:nvGrpSpPr>
          <p:grpSpPr>
            <a:xfrm>
              <a:off x="8191609" y="1040409"/>
              <a:ext cx="2520758" cy="6350186"/>
              <a:chOff x="8191609" y="1040409"/>
              <a:chExt cx="2520758" cy="6350186"/>
            </a:xfrm>
          </p:grpSpPr>
          <p:grpSp>
            <p:nvGrpSpPr>
              <p:cNvPr id="35" name="Group 34"/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Goal</a:t>
                  </a:r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Offerings</a:t>
                  </a: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Partners</a:t>
                  </a:r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tx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GB" sz="1100" b="1" dirty="0">
                      <a:solidFill>
                        <a:schemeClr val="tx2"/>
                      </a:solidFill>
                    </a:rPr>
                    <a:t>Client CMO</a:t>
                  </a:r>
                </a:p>
              </p:txBody>
            </p:sp>
          </p:grpSp>
          <p:sp>
            <p:nvSpPr>
              <p:cNvPr id="51" name="TextBox 50"/>
              <p:cNvSpPr txBox="1"/>
              <p:nvPr/>
            </p:nvSpPr>
            <p:spPr>
              <a:xfrm>
                <a:off x="8499805" y="1040409"/>
                <a:ext cx="190951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400" dirty="0"/>
                  <a:t>Build</a:t>
                </a: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624461" y="1674014"/>
                <a:ext cx="1739126" cy="1739126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4A7DAA-F4DD-4FE8-9A63-5952ACC54A04}"/>
              </a:ext>
            </a:extLst>
          </p:cNvPr>
          <p:cNvGrpSpPr/>
          <p:nvPr/>
        </p:nvGrpSpPr>
        <p:grpSpPr>
          <a:xfrm>
            <a:off x="11615659" y="1040409"/>
            <a:ext cx="2736976" cy="6062532"/>
            <a:chOff x="11615659" y="1040409"/>
            <a:chExt cx="2736976" cy="6062532"/>
          </a:xfrm>
        </p:grpSpPr>
        <p:sp>
          <p:nvSpPr>
            <p:cNvPr id="67" name="Oval 66"/>
            <p:cNvSpPr/>
            <p:nvPr/>
          </p:nvSpPr>
          <p:spPr>
            <a:xfrm>
              <a:off x="11615659" y="4435400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1819827" y="1040409"/>
              <a:ext cx="1909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/>
              </a:lvl1pPr>
            </a:lstStyle>
            <a:p>
              <a:r>
                <a:rPr lang="en-GB" dirty="0"/>
                <a:t>Harvest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097971" y="1956265"/>
              <a:ext cx="1341343" cy="1341343"/>
            </a:xfrm>
            <a:prstGeom prst="rect">
              <a:avLst/>
            </a:prstGeom>
          </p:spPr>
        </p:pic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1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05CA2B7-77DD-4461-A132-9C884705E2EB}"/>
              </a:ext>
            </a:extLst>
          </p:cNvPr>
          <p:cNvGrpSpPr/>
          <p:nvPr/>
        </p:nvGrpSpPr>
        <p:grpSpPr>
          <a:xfrm>
            <a:off x="348421" y="3726101"/>
            <a:ext cx="14299976" cy="3747377"/>
            <a:chOff x="330424" y="3751799"/>
            <a:chExt cx="14299976" cy="3747377"/>
          </a:xfrm>
        </p:grpSpPr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E8F5F4E7-ABB6-494B-BE24-648BA9EDBCE4}"/>
                </a:ext>
              </a:extLst>
            </p:cNvPr>
            <p:cNvSpPr/>
            <p:nvPr/>
          </p:nvSpPr>
          <p:spPr>
            <a:xfrm>
              <a:off x="330424" y="3751799"/>
              <a:ext cx="14299976" cy="3747377"/>
            </a:xfrm>
            <a:prstGeom prst="homePlate">
              <a:avLst>
                <a:gd name="adj" fmla="val 20868"/>
              </a:avLst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5" name="Straight Connector 64"/>
            <p:cNvCxnSpPr>
              <a:cxnSpLocks/>
              <a:endCxn id="40" idx="6"/>
            </p:cNvCxnSpPr>
            <p:nvPr/>
          </p:nvCxnSpPr>
          <p:spPr>
            <a:xfrm flipH="1">
              <a:off x="9313936" y="5650599"/>
              <a:ext cx="4084932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1246" y="5007089"/>
              <a:ext cx="1350199" cy="31194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1051246" y="6412217"/>
              <a:ext cx="1377323" cy="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Oval 12"/>
            <p:cNvSpPr/>
            <p:nvPr/>
          </p:nvSpPr>
          <p:spPr>
            <a:xfrm>
              <a:off x="494972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Industry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94972" y="5842992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echnology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 flipH="1" flipV="1">
              <a:off x="2413887" y="5038283"/>
              <a:ext cx="14682" cy="137393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/>
            <p:cNvCxnSpPr>
              <a:cxnSpLocks/>
            </p:cNvCxnSpPr>
            <p:nvPr/>
          </p:nvCxnSpPr>
          <p:spPr>
            <a:xfrm flipV="1">
              <a:off x="8773028" y="4347631"/>
              <a:ext cx="1441993" cy="118942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>
              <a:cxnSpLocks/>
            </p:cNvCxnSpPr>
            <p:nvPr/>
          </p:nvCxnSpPr>
          <p:spPr>
            <a:xfrm>
              <a:off x="8761672" y="5625496"/>
              <a:ext cx="1389531" cy="1194075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10151203" y="4347631"/>
              <a:ext cx="2623382" cy="124940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H="1">
              <a:off x="10151203" y="5593462"/>
              <a:ext cx="2623383" cy="126206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8191609" y="3796328"/>
              <a:ext cx="2520758" cy="3594267"/>
              <a:chOff x="7779176" y="3786468"/>
              <a:chExt cx="2520758" cy="3594267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9177607" y="378646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Offerings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9177607" y="62584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Partners</a:t>
                </a: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9177607" y="5022108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CMO</a:t>
                </a: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7779176" y="5079576"/>
                <a:ext cx="1122327" cy="1122327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Goal</a:t>
                </a:r>
              </a:p>
            </p:txBody>
          </p:sp>
        </p:grpSp>
        <p:sp>
          <p:nvSpPr>
            <p:cNvPr id="67" name="Oval 66"/>
            <p:cNvSpPr/>
            <p:nvPr/>
          </p:nvSpPr>
          <p:spPr>
            <a:xfrm>
              <a:off x="11597510" y="4425907"/>
              <a:ext cx="2342266" cy="2342266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600" b="1" dirty="0">
                  <a:solidFill>
                    <a:schemeClr val="tx2"/>
                  </a:solidFill>
                </a:rPr>
                <a:t>Solution</a:t>
              </a:r>
            </a:p>
          </p:txBody>
        </p:sp>
        <p:cxnSp>
          <p:nvCxnSpPr>
            <p:cNvPr id="73" name="Straight Connector 72"/>
            <p:cNvCxnSpPr>
              <a:cxnSpLocks/>
            </p:cNvCxnSpPr>
            <p:nvPr/>
          </p:nvCxnSpPr>
          <p:spPr>
            <a:xfrm flipH="1" flipV="1">
              <a:off x="2448403" y="5001268"/>
              <a:ext cx="1609656" cy="642889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Straight Connector 75"/>
            <p:cNvCxnSpPr>
              <a:cxnSpLocks/>
            </p:cNvCxnSpPr>
            <p:nvPr/>
          </p:nvCxnSpPr>
          <p:spPr>
            <a:xfrm flipH="1">
              <a:off x="2394053" y="5681662"/>
              <a:ext cx="1625313" cy="72249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893130" y="4479606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Trend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1845171" y="5851053"/>
              <a:ext cx="1122327" cy="1122327"/>
            </a:xfrm>
            <a:prstGeom prst="ellipse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100" b="1" dirty="0"/>
                <a:t>Enabler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12631887" y="400257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3302559" y="409789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3833448" y="4705864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713918" y="6655528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2312016" y="6821733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4079125" y="5451739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1997786" y="4139326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3939776" y="6017540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13659729" y="654606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2988979" y="6829431"/>
              <a:ext cx="273510" cy="27351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600" b="1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5AD39E9-A4D1-41DC-A749-8A13C4C128AD}"/>
              </a:ext>
            </a:extLst>
          </p:cNvPr>
          <p:cNvCxnSpPr>
            <a:cxnSpLocks/>
            <a:stCxn id="96" idx="6"/>
            <a:endCxn id="40" idx="2"/>
          </p:cNvCxnSpPr>
          <p:nvPr/>
        </p:nvCxnSpPr>
        <p:spPr>
          <a:xfrm flipV="1">
            <a:off x="7283015" y="5624902"/>
            <a:ext cx="926591" cy="594"/>
          </a:xfrm>
          <a:prstGeom prst="line">
            <a:avLst/>
          </a:prstGeom>
          <a:ln w="762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TextBox 59"/>
          <p:cNvSpPr txBox="1"/>
          <p:nvPr/>
        </p:nvSpPr>
        <p:spPr>
          <a:xfrm>
            <a:off x="786453" y="1047896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Understand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453" y="1723456"/>
            <a:ext cx="1906907" cy="1906907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474637" y="1042765"/>
            <a:ext cx="1906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819827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n-GB" dirty="0"/>
              <a:t>Harves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499805" y="1040409"/>
            <a:ext cx="1909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Build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4637" y="1724265"/>
            <a:ext cx="1908000" cy="19080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2097971" y="1956265"/>
            <a:ext cx="1341343" cy="13413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24461" y="1674014"/>
            <a:ext cx="1739126" cy="1739126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EA6A64E4-D3E1-4312-9796-1EEAC38C3496}"/>
              </a:ext>
            </a:extLst>
          </p:cNvPr>
          <p:cNvGrpSpPr/>
          <p:nvPr/>
        </p:nvGrpSpPr>
        <p:grpSpPr>
          <a:xfrm>
            <a:off x="3550072" y="4285400"/>
            <a:ext cx="3732943" cy="2636278"/>
            <a:chOff x="3550072" y="4285400"/>
            <a:chExt cx="3732943" cy="2636278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0E67485A-AA14-49D1-A1AC-E3E6CD0B77B8}"/>
                </a:ext>
              </a:extLst>
            </p:cNvPr>
            <p:cNvCxnSpPr>
              <a:cxnSpLocks/>
            </p:cNvCxnSpPr>
            <p:nvPr/>
          </p:nvCxnSpPr>
          <p:spPr>
            <a:xfrm>
              <a:off x="4139737" y="5644158"/>
              <a:ext cx="1250461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8207A5-0F3F-4287-886F-22DAC0AF87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84699" y="5644158"/>
              <a:ext cx="1327858" cy="752158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2C57D887-9F27-4140-BAB8-E65A95B7CBEA}"/>
                </a:ext>
              </a:extLst>
            </p:cNvPr>
            <p:cNvCxnSpPr>
              <a:cxnSpLocks/>
            </p:cNvCxnSpPr>
            <p:nvPr/>
          </p:nvCxnSpPr>
          <p:spPr>
            <a:xfrm>
              <a:off x="5414509" y="4846563"/>
              <a:ext cx="1209047" cy="741931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D047669-F3B5-4C28-AB0A-7F34521178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28925" y="4846563"/>
              <a:ext cx="1237282" cy="807363"/>
            </a:xfrm>
            <a:prstGeom prst="line">
              <a:avLst/>
            </a:prstGeom>
            <a:ln w="762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FC05161-C7F7-4776-B52E-41D311F41AEB}"/>
                </a:ext>
              </a:extLst>
            </p:cNvPr>
            <p:cNvGrpSpPr/>
            <p:nvPr/>
          </p:nvGrpSpPr>
          <p:grpSpPr>
            <a:xfrm>
              <a:off x="3550072" y="4285400"/>
              <a:ext cx="3732943" cy="2636278"/>
              <a:chOff x="3519130" y="4285400"/>
              <a:chExt cx="3732943" cy="263627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1F368F56-7350-45FD-9E4A-0029CB59F7C8}"/>
                  </a:ext>
                </a:extLst>
              </p:cNvPr>
              <p:cNvSpPr/>
              <p:nvPr/>
            </p:nvSpPr>
            <p:spPr>
              <a:xfrm>
                <a:off x="3519130" y="5060276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Value Chain</a:t>
                </a: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B1A70994-E4E7-4C04-90CB-0DD2FDB202B5}"/>
                  </a:ext>
                </a:extLst>
              </p:cNvPr>
              <p:cNvSpPr/>
              <p:nvPr/>
            </p:nvSpPr>
            <p:spPr>
              <a:xfrm>
                <a:off x="6129746" y="5064332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Client Innovation Agenda</a:t>
                </a: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E6C20B71-DDE1-485D-9ED6-094E1017AD0D}"/>
                  </a:ext>
                </a:extLst>
              </p:cNvPr>
              <p:cNvSpPr/>
              <p:nvPr/>
            </p:nvSpPr>
            <p:spPr>
              <a:xfrm>
                <a:off x="4795350" y="4285400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Disruptor</a:t>
                </a: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150A855A-2877-48FA-BD40-1407F24258C5}"/>
                  </a:ext>
                </a:extLst>
              </p:cNvPr>
              <p:cNvSpPr/>
              <p:nvPr/>
            </p:nvSpPr>
            <p:spPr>
              <a:xfrm>
                <a:off x="4785012" y="5799351"/>
                <a:ext cx="1122327" cy="1122327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2"/>
                    </a:solidFill>
                  </a:rPr>
                  <a:t>Enab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812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0FD7294E-B20C-48B8-99C2-D32C4CD7EB99}"/>
              </a:ext>
            </a:extLst>
          </p:cNvPr>
          <p:cNvGrpSpPr/>
          <p:nvPr/>
        </p:nvGrpSpPr>
        <p:grpSpPr>
          <a:xfrm>
            <a:off x="161343" y="1196498"/>
            <a:ext cx="14307714" cy="5802636"/>
            <a:chOff x="370196" y="1196498"/>
            <a:chExt cx="14307714" cy="580263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5775934-F650-4C52-AA5C-F013EB4A54BA}"/>
                </a:ext>
              </a:extLst>
            </p:cNvPr>
            <p:cNvGrpSpPr/>
            <p:nvPr/>
          </p:nvGrpSpPr>
          <p:grpSpPr>
            <a:xfrm>
              <a:off x="370196" y="1479290"/>
              <a:ext cx="2609224" cy="643538"/>
              <a:chOff x="330424" y="3751799"/>
              <a:chExt cx="15193725" cy="3747377"/>
            </a:xfrm>
          </p:grpSpPr>
          <p:sp>
            <p:nvSpPr>
              <p:cNvPr id="47" name="Arrow: Pentagon 46">
                <a:extLst>
                  <a:ext uri="{FF2B5EF4-FFF2-40B4-BE49-F238E27FC236}">
                    <a16:creationId xmlns:a16="http://schemas.microsoft.com/office/drawing/2014/main" id="{460A25A7-0027-481A-9C44-CCD751373D4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B1DC55-73AE-49B0-BA9C-E00C869485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D2599AD-19F3-43FF-B7D6-0E94223DBEB3}"/>
                  </a:ext>
                </a:extLst>
              </p:cNvPr>
              <p:cNvCxnSpPr>
                <a:cxnSpLocks/>
                <a:endCxn id="8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0795C56-245F-4FC1-9266-6A819A09B9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AC2CC2A-9A32-4450-A6D6-398C96BFA9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F4A5A69-8CDA-4E2B-8115-98FBD7A57D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1B8574C-8631-487F-9DBB-9BE07B59F8EA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D828AEC-7DC1-4566-989F-4F3BB8FAD4DF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B4D51B6-1CD4-425C-86CB-01ACAE43EA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07BDB79-C26B-4488-A129-9D6000247E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4876AE72-690F-4591-BBD7-94D0F9E1CBC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92563C88-AD81-4492-A25D-3C4CD5B2AF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0ED487-6803-431C-8E0F-40D973517C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2F1AFF7-785A-4CC8-B5A4-A3C7EA4BB1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8E0564AE-63C1-4C76-ACB3-E32D017E66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336F5C3-BA4E-404F-BE24-C4F0A3B4D9C9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EE94C773-5386-4389-82C4-01754C2CD745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34D874AD-A200-45AC-ABA9-9289DEB0B87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495E7C3B-BAFB-4794-B5E8-F6241296529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0F1292AB-1C44-4CA1-B466-C42C37503E2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B033ACF-4356-4305-8B9F-24F6EF92DB2C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EC07D89-6A00-45B8-BDC1-1F69DA716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4924672-1CCF-4250-8BDA-A10058D21A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CEAB92C-9039-4C61-9CD8-A0EC774885E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C8EED9EB-FF65-4F6B-83D0-3E282CF66D1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12D51E82-3AE1-4F60-B23C-6D60347778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1776255-27DE-4E6D-9E85-562993854D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EF30525A-7876-4B90-96D0-B558E25E1CE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id="{265B3B71-CF74-4542-990C-FD662E3B556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A7562FF7-F9B2-4A29-A5BB-1DD5CF99829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id="{98933D06-CE90-4450-8330-4D396861312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762DDA40-E7A4-4DDB-AE07-61BC3E3D113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6CA4E56-2B6B-4C76-948B-9EA9EBC11E03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BC34D1A-4059-4CEF-9D8F-831EEF5C2D2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D1F842E-0C24-41D9-B295-5F3C5BAFA0E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75A879F-664F-4884-99CA-CB6B14662C4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8BAF577-EB68-4031-8B73-48FF73C1A2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0E047594-C046-4C39-85D1-5E09926B883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610305D6-26B3-41AA-9A0E-7E05EDA384C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66FAB78-638E-4259-ACB7-957D5687AAC9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E97FC14E-87D1-4ABF-85A7-654B00EF090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25B89526-3C75-4526-B36E-AB95AE944A86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74916CF-7E51-4CAF-8EF5-8BB8C4D1E033}"/>
                </a:ext>
              </a:extLst>
            </p:cNvPr>
            <p:cNvGrpSpPr/>
            <p:nvPr/>
          </p:nvGrpSpPr>
          <p:grpSpPr>
            <a:xfrm>
              <a:off x="1278437" y="2330048"/>
              <a:ext cx="2609224" cy="643538"/>
              <a:chOff x="330424" y="3751799"/>
              <a:chExt cx="15193725" cy="3747377"/>
            </a:xfrm>
          </p:grpSpPr>
          <p:sp>
            <p:nvSpPr>
              <p:cNvPr id="90" name="Arrow: Pentagon 89">
                <a:extLst>
                  <a:ext uri="{FF2B5EF4-FFF2-40B4-BE49-F238E27FC236}">
                    <a16:creationId xmlns:a16="http://schemas.microsoft.com/office/drawing/2014/main" id="{978C0DFB-31DA-45B9-AFF2-152AEAC9F87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747449C-31DA-4B4B-9169-748A85F08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E1F01EC-95E1-4937-B42F-F3718461A23B}"/>
                  </a:ext>
                </a:extLst>
              </p:cNvPr>
              <p:cNvCxnSpPr>
                <a:cxnSpLocks/>
                <a:endCxn id="128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E5E307D1-78BB-4ED0-92A4-03256343D5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8097DD6-9DEB-4152-A6CE-75F6F55382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2580DE6-2546-47BA-A50E-5C3622DA02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7FBB411-EBAD-49A1-A2C8-6926E07D5B0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5D01276-34B1-46A5-A5A4-9C4A75642BD5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9034785-3A48-4125-9505-36715E54F4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A85C08A4-AC1B-4942-954A-8D547D5E5E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A1B49D4-D94B-40D9-A352-DAD51461C1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0847545C-5C5B-4CAE-9025-C1332A9CAE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7F6AA23-FF85-498A-9535-2F8FCC00E2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26CACA63-4A99-47E1-AAFA-4A056916DC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B3184453-E6F4-4EFA-B8C0-CFA8E367A10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44FC26F5-D98F-4DA8-B842-30F0CE5542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id="{3B233B3C-A801-4214-9C0D-97CE9FD9061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EE633DE3-23A9-40BD-B47F-EBF2DB77690B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id="{EFDFF4BC-5F19-445C-880B-5C27FAD232AB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B76D3C08-F0EE-40F8-9522-80F246D8A3E5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4FB4FF5-CDD9-4C06-B338-C746C1B67743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D91404-AE45-4D5E-A9FA-3B87FF408D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E5034FE-E04A-4820-88D2-9A53F0FB0ED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D26E55C-A7E0-48E3-ACB2-9969ABE5A40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D059567-C4D4-4B36-9ECD-A349FE987EC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235844D0-1154-4042-9506-E17E84FE1E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4BE04D57-D1E7-4E66-8B69-AAEDDDE7E4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5F240005-BF51-4AED-B05E-DF5E0BDE2B6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09F6ADAC-0092-42DE-8DC2-A2F123365B9D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716D0A87-0BE5-4360-8C06-45BFD01BE4D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id="{82D4F883-227B-4817-A959-D02B80D0ACB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30D2F27C-030A-43CA-8004-96EA95EAA5D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6E610753-6398-4AA0-92E9-10BC3096D46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BA906B2A-9590-4F42-B702-4CB8DD773AB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8C1CF0A-F743-479D-905C-7A4C7C0820D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C23AD92C-210F-45BF-BF74-276C737259D8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53A4D01F-E275-4033-BD52-FE5C0B02B815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7C572F8-BAA9-4B39-AA48-AFF9427CC8CF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69E88CBB-A4D7-44E0-8F26-87799B99911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AAB8670-214D-4FDA-86DD-23CACAD5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10C6D58-A5D8-46B5-A8BF-7FE0C0F9649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0BF9138C-F8AA-421E-A57C-5EE2D2BCDAFC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26AF8797-4D76-4D6D-96DB-1FFC8359D8EB}"/>
                </a:ext>
              </a:extLst>
            </p:cNvPr>
            <p:cNvGrpSpPr/>
            <p:nvPr/>
          </p:nvGrpSpPr>
          <p:grpSpPr>
            <a:xfrm>
              <a:off x="515435" y="3418666"/>
              <a:ext cx="2609224" cy="643538"/>
              <a:chOff x="330424" y="3751799"/>
              <a:chExt cx="15193725" cy="3747377"/>
            </a:xfrm>
          </p:grpSpPr>
          <p:sp>
            <p:nvSpPr>
              <p:cNvPr id="133" name="Arrow: Pentagon 132">
                <a:extLst>
                  <a:ext uri="{FF2B5EF4-FFF2-40B4-BE49-F238E27FC236}">
                    <a16:creationId xmlns:a16="http://schemas.microsoft.com/office/drawing/2014/main" id="{78F3665B-FA4C-4A76-91AD-68CD879A9573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AA7FBFB4-9541-4EB2-BE6E-059E566BB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8523BA2C-4A38-408A-866C-51FCE92FB277}"/>
                  </a:ext>
                </a:extLst>
              </p:cNvPr>
              <p:cNvCxnSpPr>
                <a:cxnSpLocks/>
                <a:endCxn id="171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75B54E52-52BF-422B-8BF7-4DBF514674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EB67149A-995A-47B3-81B8-20544C574E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0A83319-F212-4DB0-8594-1E0AFD0BC2E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A7A7E45F-7D28-4EE2-81C4-1D0D3ACBE77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C44C5CEE-1273-44C0-ACCF-1A8A2BEEC722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1AB1CCE7-B3E0-42BB-B443-9392B9D1F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CAA6F374-B163-4EA1-A15C-51D917B9FB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67788BC8-82A4-4A65-A1B9-FAD482EDA6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53D1FA43-212B-4421-A7C3-A1A2D5038BD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2869D18A-6623-43DE-9B37-34F78AF3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2604FE9C-F98D-42CF-B99B-DE4440A931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0040B3FC-6379-4343-B16E-C9860B01BF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1ADA8895-08B2-42C1-8AF5-47927074CF4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71" name="Oval 170">
                  <a:extLst>
                    <a:ext uri="{FF2B5EF4-FFF2-40B4-BE49-F238E27FC236}">
                      <a16:creationId xmlns:a16="http://schemas.microsoft.com/office/drawing/2014/main" id="{4147A96C-4C87-47A2-BF2F-937F18BB02B8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DB6E0B26-C93E-4CB3-94BE-7A849F03544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3" name="Oval 172">
                  <a:extLst>
                    <a:ext uri="{FF2B5EF4-FFF2-40B4-BE49-F238E27FC236}">
                      <a16:creationId xmlns:a16="http://schemas.microsoft.com/office/drawing/2014/main" id="{96683537-B485-431D-85CE-3647F7EFF636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3619A261-A33D-458F-93F9-B43439F9EE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94033BA-103F-4581-84BB-667D60605C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AC4C0176-0DAE-4991-849F-D5B145EDA3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595EB588-0488-49BE-8C92-452D659BBD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C2EDB38F-F59D-4D10-A47F-5B5F371B8CA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57D6D1A2-493D-4A7D-8DBB-37D742ED12ED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4579C7A4-5F95-47FE-BD8C-B59C8AB668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4956FD33-74F1-4EE5-8B39-6DCC46BC6F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E59B834-0049-4D96-B252-86E401678EF3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67" name="Oval 166">
                  <a:extLst>
                    <a:ext uri="{FF2B5EF4-FFF2-40B4-BE49-F238E27FC236}">
                      <a16:creationId xmlns:a16="http://schemas.microsoft.com/office/drawing/2014/main" id="{3048EDE5-D1E1-403C-8D8F-DB3076C282E7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2BF801FF-4225-4B07-B965-CFE07371187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F4FD6FFE-7468-45F1-A739-DC850B37958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19D90097-036E-4932-A6EC-836B717CB35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B5DD543C-B00C-4161-BD8B-44161024F84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B6E65E1C-CCF3-43F5-856E-82D847128BF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118286D7-30EC-4732-9AEA-A2706C49917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D167730E-18C4-45E1-8522-9DD6F7B6727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DB2FE05-8BCB-4216-98ED-091BAA0DA4F9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158DC7E7-A081-4F96-B35D-46F637B3D5FD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D5DD94BA-4CBD-4080-AE8F-6B37D92FF327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7DEF27DA-C46F-417A-97D5-F91A67508E2A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CE8B870D-D994-4953-9909-7F08768778C9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466F828B-EDE4-4481-91E7-51BCFEAEA86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4A9FF89F-54AC-49CD-9DA3-B515D76B8145}"/>
                </a:ext>
              </a:extLst>
            </p:cNvPr>
            <p:cNvGrpSpPr/>
            <p:nvPr/>
          </p:nvGrpSpPr>
          <p:grpSpPr>
            <a:xfrm>
              <a:off x="5029818" y="2272282"/>
              <a:ext cx="2609224" cy="643538"/>
              <a:chOff x="330424" y="3751799"/>
              <a:chExt cx="15193725" cy="3747377"/>
            </a:xfrm>
          </p:grpSpPr>
          <p:sp>
            <p:nvSpPr>
              <p:cNvPr id="176" name="Arrow: Pentagon 175">
                <a:extLst>
                  <a:ext uri="{FF2B5EF4-FFF2-40B4-BE49-F238E27FC236}">
                    <a16:creationId xmlns:a16="http://schemas.microsoft.com/office/drawing/2014/main" id="{4E43399E-9DF2-4A52-B834-3079CF55CF8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5598CDB-B5B4-4C49-96A0-38F5798DB6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E61B36B0-C187-45DD-91FC-33B7DABF7CC4}"/>
                  </a:ext>
                </a:extLst>
              </p:cNvPr>
              <p:cNvCxnSpPr>
                <a:cxnSpLocks/>
                <a:endCxn id="21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C453AD55-F7C0-4C0B-88BC-20DA49762A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2573F46C-D71A-4E35-816C-F601F0C573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E9025446-10F5-465B-978C-02FBD07936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2651F025-D162-40E5-9320-214E18484A9D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2C1ADC2-F1C4-4E87-A1C0-E65AE31A223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50AA859C-C58E-46AE-B6B8-5921A6AA6A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DB8571A5-E811-4E51-A595-11F03C933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B9F94A1D-0A69-4DCE-B16F-9278CE76EC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CF826511-9911-4EF6-AD7A-9C6C19F65ED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329EF371-31D5-4719-B575-43E8878EB8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0031CF10-853A-4871-B9E2-96CA3646AA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4DF865BD-7B4E-4A3C-9E97-6BE714CD85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3AA5B176-0D15-45D2-9098-F897328521C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14" name="Oval 213">
                  <a:extLst>
                    <a:ext uri="{FF2B5EF4-FFF2-40B4-BE49-F238E27FC236}">
                      <a16:creationId xmlns:a16="http://schemas.microsoft.com/office/drawing/2014/main" id="{52533170-4A1E-4569-9EE0-FE62D2B464B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5" name="Oval 214">
                  <a:extLst>
                    <a:ext uri="{FF2B5EF4-FFF2-40B4-BE49-F238E27FC236}">
                      <a16:creationId xmlns:a16="http://schemas.microsoft.com/office/drawing/2014/main" id="{0816587E-A5B3-4AAD-96C9-7FC4B20A6C0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6" name="Oval 215">
                  <a:extLst>
                    <a:ext uri="{FF2B5EF4-FFF2-40B4-BE49-F238E27FC236}">
                      <a16:creationId xmlns:a16="http://schemas.microsoft.com/office/drawing/2014/main" id="{F1B08F58-779A-4AC6-8644-DB62E58EACC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7" name="Oval 216">
                  <a:extLst>
                    <a:ext uri="{FF2B5EF4-FFF2-40B4-BE49-F238E27FC236}">
                      <a16:creationId xmlns:a16="http://schemas.microsoft.com/office/drawing/2014/main" id="{4D6ED198-4239-4A61-A11A-8C2377A818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7724440D-CB31-4E46-8148-4415CBCEFFA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40B4184A-E938-4A63-94FB-6B93F361CB2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BFCF478-927E-488F-B47A-DE99ED5E714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1699F181-EE12-400C-9F42-7FFFC867FC7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54F49936-B06F-4EB1-8FD6-2CBB3928FAF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3A94B94F-F6EA-4C68-AB2F-BCC1C7DF25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F2B8E691-604A-4E91-A9AA-CB79E876E0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56833142-2E68-4C98-9F6B-BD7AF6A6D5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580FDBCD-B90B-469E-9D27-A1E6AC040C0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1" name="Oval 210">
                  <a:extLst>
                    <a:ext uri="{FF2B5EF4-FFF2-40B4-BE49-F238E27FC236}">
                      <a16:creationId xmlns:a16="http://schemas.microsoft.com/office/drawing/2014/main" id="{98F32B92-1E24-4784-9853-8AE60F8F3D2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CF664FC4-5466-4D98-9EDE-AC7D40193DC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47838CDC-C108-4535-8EF2-2532FDC48AA6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C9D9A534-D26A-483D-A77D-1163E3C6889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8130F03E-4333-4AF7-8793-C74CBFBE15A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8DBC2FFC-D32E-421C-8C40-2675DCCAE02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3357EAA7-3335-4730-99DE-1C41F965415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63A25D07-CDD0-4081-A523-77565289E4F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22392A4B-0FFA-49A6-8682-C15500AC2AD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A0DB264-097F-4368-AC8A-8FC93C113C4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7293AC79-5257-4085-9504-969EBE0108D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3F8DD6E-CF8B-4A6B-98A9-91F11A378ED0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01770A1-8CF7-4191-9078-5F0D8A88AA22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E44BBA85-F7A4-4E19-96B5-DEB0F16479F9}"/>
                </a:ext>
              </a:extLst>
            </p:cNvPr>
            <p:cNvGrpSpPr/>
            <p:nvPr/>
          </p:nvGrpSpPr>
          <p:grpSpPr>
            <a:xfrm>
              <a:off x="7872959" y="1363757"/>
              <a:ext cx="2609224" cy="643538"/>
              <a:chOff x="330424" y="3751799"/>
              <a:chExt cx="15193725" cy="3747377"/>
            </a:xfrm>
          </p:grpSpPr>
          <p:sp>
            <p:nvSpPr>
              <p:cNvPr id="219" name="Arrow: Pentagon 218">
                <a:extLst>
                  <a:ext uri="{FF2B5EF4-FFF2-40B4-BE49-F238E27FC236}">
                    <a16:creationId xmlns:a16="http://schemas.microsoft.com/office/drawing/2014/main" id="{912457BD-37FE-44BA-8075-01FA1F235F1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721E9EC6-9F3D-4617-A032-588A5785C0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CC63D01A-B7E2-4E42-BF58-7B59D0B4022C}"/>
                  </a:ext>
                </a:extLst>
              </p:cNvPr>
              <p:cNvCxnSpPr>
                <a:cxnSpLocks/>
                <a:endCxn id="257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92B485AA-4790-4CAE-B0E2-7A221EDD50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55FFC59B-E848-46D1-A516-452BAF29DD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59005F6A-A17D-4198-AA69-C149979F5E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B4D2363B-2BC8-4E0D-B889-F91E82DEF41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4F1BC29F-2B1B-4DE1-B925-BA93E41B5F3A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286C9516-2C89-4FC4-A58B-E1F35E1F21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DC3AA93E-EA6F-40E3-9FF8-9F23ABCA7D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2D5754AE-0618-4D75-B8E5-2638F83DE4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E25BE72-1FC6-47A0-B97A-2025A20A05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CDEA8A25-F6C2-4541-8D36-6987AAF8E8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668E0105-B82C-4748-8CAA-31681AD9B8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0B159919-BB62-4FDF-B55E-80EE57E8C3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id="{3CB1472B-56F1-4425-9B82-2F322DAD60E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1DAB317A-15D3-4DEA-8C6A-9D15189955DD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8" name="Oval 257">
                  <a:extLst>
                    <a:ext uri="{FF2B5EF4-FFF2-40B4-BE49-F238E27FC236}">
                      <a16:creationId xmlns:a16="http://schemas.microsoft.com/office/drawing/2014/main" id="{66ABF297-6038-4489-AC93-47A93668D67A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D579E941-69A2-4E80-91FE-DC69E06E4D8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60" name="Oval 259">
                  <a:extLst>
                    <a:ext uri="{FF2B5EF4-FFF2-40B4-BE49-F238E27FC236}">
                      <a16:creationId xmlns:a16="http://schemas.microsoft.com/office/drawing/2014/main" id="{2722FA16-6C8B-4978-8802-243EB5A6CB56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1590A85A-5A17-4EC3-B9F7-BA8875CC1FE4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3C7C909E-FE04-45D4-86F1-FD58A2C40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397B38E8-E5B4-4FC1-A0C4-3FE5D7D572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C7DB8D8C-34C5-464A-BEB6-98F8003E373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BC382616-E2D3-4F3D-A740-2E1BC48A43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8488D7C4-37B0-4E83-85FE-02C39F2298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EF5F3764-0F04-45F8-8191-CD98BDB3D9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1C5758DF-01B0-4DB6-8199-7A7A72F26A4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53" name="Oval 252">
                  <a:extLst>
                    <a:ext uri="{FF2B5EF4-FFF2-40B4-BE49-F238E27FC236}">
                      <a16:creationId xmlns:a16="http://schemas.microsoft.com/office/drawing/2014/main" id="{0DD88EE6-FFB6-4C76-B5CA-2A7FFC1FD4B6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4" name="Oval 253">
                  <a:extLst>
                    <a:ext uri="{FF2B5EF4-FFF2-40B4-BE49-F238E27FC236}">
                      <a16:creationId xmlns:a16="http://schemas.microsoft.com/office/drawing/2014/main" id="{D284D982-97F2-4F70-9C03-AFA6254CD31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5" name="Oval 254">
                  <a:extLst>
                    <a:ext uri="{FF2B5EF4-FFF2-40B4-BE49-F238E27FC236}">
                      <a16:creationId xmlns:a16="http://schemas.microsoft.com/office/drawing/2014/main" id="{3B6BF3CE-8D03-437A-A457-0066C03DC1C4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56" name="Oval 255">
                  <a:extLst>
                    <a:ext uri="{FF2B5EF4-FFF2-40B4-BE49-F238E27FC236}">
                      <a16:creationId xmlns:a16="http://schemas.microsoft.com/office/drawing/2014/main" id="{7872A1A6-B27A-4EAF-B543-C8F11EDEA64D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5300D033-777D-48E0-9A68-D611A87E983D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AFC5895E-4CEF-487B-8C04-04B2DE74F3C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4DB76D9F-673D-4726-9B9F-FAA3332C9F6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02F86C5D-5591-4D05-894D-6045F295A5EE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8796D5D9-0501-43FD-B4CB-F89DBF5772F7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DABFE8D3-2766-4490-BA18-FFD87DC104E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ACA48074-E162-4AA3-8D9B-63ECD53CBAA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5A38F411-6D18-4A05-9CB9-C2382B51BAE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CD648692-C426-4754-B9A5-63C82AA4FC92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9FAB3529-D908-423C-9246-60D28492391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E95C4B6-7DAF-49FD-97EF-2F9CD6EFA5D1}"/>
                </a:ext>
              </a:extLst>
            </p:cNvPr>
            <p:cNvGrpSpPr/>
            <p:nvPr/>
          </p:nvGrpSpPr>
          <p:grpSpPr>
            <a:xfrm>
              <a:off x="1230881" y="4717393"/>
              <a:ext cx="2609224" cy="643538"/>
              <a:chOff x="330424" y="3751799"/>
              <a:chExt cx="15193725" cy="3747377"/>
            </a:xfrm>
          </p:grpSpPr>
          <p:sp>
            <p:nvSpPr>
              <p:cNvPr id="262" name="Arrow: Pentagon 261">
                <a:extLst>
                  <a:ext uri="{FF2B5EF4-FFF2-40B4-BE49-F238E27FC236}">
                    <a16:creationId xmlns:a16="http://schemas.microsoft.com/office/drawing/2014/main" id="{59220CE7-BC5F-4629-968E-9DA1D184FF2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933B6C7C-D8AE-4A32-9101-F7BB0AAD8B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2799BD38-591A-40A7-BE12-48351D0913F1}"/>
                  </a:ext>
                </a:extLst>
              </p:cNvPr>
              <p:cNvCxnSpPr>
                <a:cxnSpLocks/>
                <a:endCxn id="30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6B0EEAA9-E579-4723-834C-A113554B49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C296A09-4C45-467F-BE9E-B69EFAE00F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FA13ECCB-28C3-4D53-A781-9C9FCAD0B0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781D4D90-C5BA-4F95-981C-4561511B26B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id="{157AA959-29B7-4A96-9553-753E40261A96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CED939AC-948B-4177-A1A7-651BCD06AE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0397D200-A7CA-49D4-9A3D-C1656D9B19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5DFEC054-905C-4178-A22B-3C500B5675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FB588578-57F4-4321-8117-9EAA80F855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5DF2BAE9-F847-4B2D-A115-A7444D69E1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238731BC-A504-4B1A-88EB-1F58E67557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E39AD1D8-627F-4D7A-8D62-29DD007EFB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FCDEDBBE-F708-4DC7-BEB5-8F479CDC2EF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00" name="Oval 299">
                  <a:extLst>
                    <a:ext uri="{FF2B5EF4-FFF2-40B4-BE49-F238E27FC236}">
                      <a16:creationId xmlns:a16="http://schemas.microsoft.com/office/drawing/2014/main" id="{1C87ACE0-423D-45E8-9CDE-4FD948F01FA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1" name="Oval 300">
                  <a:extLst>
                    <a:ext uri="{FF2B5EF4-FFF2-40B4-BE49-F238E27FC236}">
                      <a16:creationId xmlns:a16="http://schemas.microsoft.com/office/drawing/2014/main" id="{50286F44-A848-4729-9364-7A75F86CE3C4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2" name="Oval 301">
                  <a:extLst>
                    <a:ext uri="{FF2B5EF4-FFF2-40B4-BE49-F238E27FC236}">
                      <a16:creationId xmlns:a16="http://schemas.microsoft.com/office/drawing/2014/main" id="{C105827C-8B0F-43DB-AC49-D1ACDEF59669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3" name="Oval 302">
                  <a:extLst>
                    <a:ext uri="{FF2B5EF4-FFF2-40B4-BE49-F238E27FC236}">
                      <a16:creationId xmlns:a16="http://schemas.microsoft.com/office/drawing/2014/main" id="{21D6C5EC-0471-4B6D-80D7-2C3BBC2DEBAB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E96CF4C3-1FE3-4D36-A3F3-9854F53FC05D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4BB54562-B259-43B2-B974-72DE6F7881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F3B54BE7-DCB6-4CB5-98BC-38E1B8BD14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81" name="Oval 280">
                <a:extLst>
                  <a:ext uri="{FF2B5EF4-FFF2-40B4-BE49-F238E27FC236}">
                    <a16:creationId xmlns:a16="http://schemas.microsoft.com/office/drawing/2014/main" id="{4C075300-82A9-49FE-8087-84E346AAE68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12263820-FE96-459E-84F7-5D927E46E83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963EBD4F-B736-401B-A3A7-92ECB674CB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45BC2A26-1BD3-427E-8D39-56AC0E71DE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A5FCD22C-5989-4A07-ACE8-069BD99DAEB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599C5388-F742-43D3-A5E8-380DE5D20FC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FF83E0F8-7F95-4764-846A-C4FB1E0EF4C7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DD9CF2DA-78D5-4DCC-ADD9-90D0DAE275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99" name="Oval 298">
                  <a:extLst>
                    <a:ext uri="{FF2B5EF4-FFF2-40B4-BE49-F238E27FC236}">
                      <a16:creationId xmlns:a16="http://schemas.microsoft.com/office/drawing/2014/main" id="{5A3F5C11-E169-46C2-BEA9-98AB65F441D1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7E3940E8-8D60-4225-A03F-E65302EBE230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6006F577-5E59-4DB2-99A5-C1253B9C9DE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D3E2B54B-DA74-4C5C-8955-AE8755285996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9" name="Oval 288">
                <a:extLst>
                  <a:ext uri="{FF2B5EF4-FFF2-40B4-BE49-F238E27FC236}">
                    <a16:creationId xmlns:a16="http://schemas.microsoft.com/office/drawing/2014/main" id="{110ED77D-0C68-400E-8608-2B0D34DB001A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F14B6E4-B2DA-48A9-942A-A5E2FBECD86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1" name="Oval 290">
                <a:extLst>
                  <a:ext uri="{FF2B5EF4-FFF2-40B4-BE49-F238E27FC236}">
                    <a16:creationId xmlns:a16="http://schemas.microsoft.com/office/drawing/2014/main" id="{BD693E33-FB6D-485D-837F-5FDC947F2A5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479E4BE8-4DC5-45B0-954F-0AF944EE011A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3" name="Oval 292">
                <a:extLst>
                  <a:ext uri="{FF2B5EF4-FFF2-40B4-BE49-F238E27FC236}">
                    <a16:creationId xmlns:a16="http://schemas.microsoft.com/office/drawing/2014/main" id="{5AE20CBB-EC21-4090-9F4D-2472BD7F777B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3C56E13B-4ECF-4EB5-B6C2-0A0640B986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95" name="Oval 294">
                <a:extLst>
                  <a:ext uri="{FF2B5EF4-FFF2-40B4-BE49-F238E27FC236}">
                    <a16:creationId xmlns:a16="http://schemas.microsoft.com/office/drawing/2014/main" id="{E444E375-F1F1-41FB-9BA1-AB8ABA01C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id="{F01C86DD-47AD-4E6E-94E4-2EA98A6C7783}"/>
                </a:ext>
              </a:extLst>
            </p:cNvPr>
            <p:cNvGrpSpPr/>
            <p:nvPr/>
          </p:nvGrpSpPr>
          <p:grpSpPr>
            <a:xfrm>
              <a:off x="3864683" y="1196498"/>
              <a:ext cx="2609224" cy="643538"/>
              <a:chOff x="330424" y="3751799"/>
              <a:chExt cx="15193725" cy="3747377"/>
            </a:xfrm>
          </p:grpSpPr>
          <p:sp>
            <p:nvSpPr>
              <p:cNvPr id="305" name="Arrow: Pentagon 304">
                <a:extLst>
                  <a:ext uri="{FF2B5EF4-FFF2-40B4-BE49-F238E27FC236}">
                    <a16:creationId xmlns:a16="http://schemas.microsoft.com/office/drawing/2014/main" id="{E657C682-A83F-4A28-BBAF-91497D67FBC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47B8115F-AF72-45AF-937A-2376A14AE5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7A8FB734-81A6-46FA-A390-EE8802B3B335}"/>
                  </a:ext>
                </a:extLst>
              </p:cNvPr>
              <p:cNvCxnSpPr>
                <a:cxnSpLocks/>
                <a:endCxn id="34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8" name="Straight Connector 307">
                <a:extLst>
                  <a:ext uri="{FF2B5EF4-FFF2-40B4-BE49-F238E27FC236}">
                    <a16:creationId xmlns:a16="http://schemas.microsoft.com/office/drawing/2014/main" id="{E245BEAE-F855-47ED-9C28-FE97FD4BEA6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2B1ADCDA-5EC7-45D9-A26B-D835649514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8E4E9506-4988-425C-8AE9-0BC14CF413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11" name="Oval 310">
                <a:extLst>
                  <a:ext uri="{FF2B5EF4-FFF2-40B4-BE49-F238E27FC236}">
                    <a16:creationId xmlns:a16="http://schemas.microsoft.com/office/drawing/2014/main" id="{27201BC0-3053-43CC-A52B-44A1D7216C9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12" name="Oval 311">
                <a:extLst>
                  <a:ext uri="{FF2B5EF4-FFF2-40B4-BE49-F238E27FC236}">
                    <a16:creationId xmlns:a16="http://schemas.microsoft.com/office/drawing/2014/main" id="{B41DF409-927B-47AC-991C-585FDC2A098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CB3DBD37-2DC4-468B-B57C-126051627C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4" name="Straight Connector 313">
                <a:extLst>
                  <a:ext uri="{FF2B5EF4-FFF2-40B4-BE49-F238E27FC236}">
                    <a16:creationId xmlns:a16="http://schemas.microsoft.com/office/drawing/2014/main" id="{7EEBF94E-508A-4238-BC54-5F06598E10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5" name="Straight Connector 314">
                <a:extLst>
                  <a:ext uri="{FF2B5EF4-FFF2-40B4-BE49-F238E27FC236}">
                    <a16:creationId xmlns:a16="http://schemas.microsoft.com/office/drawing/2014/main" id="{BE759A3D-A058-48DC-B41C-63E2CC19ED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6" name="Straight Connector 315">
                <a:extLst>
                  <a:ext uri="{FF2B5EF4-FFF2-40B4-BE49-F238E27FC236}">
                    <a16:creationId xmlns:a16="http://schemas.microsoft.com/office/drawing/2014/main" id="{97185379-C17C-4B16-992F-AB39AA68A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7" name="Straight Connector 316">
                <a:extLst>
                  <a:ext uri="{FF2B5EF4-FFF2-40B4-BE49-F238E27FC236}">
                    <a16:creationId xmlns:a16="http://schemas.microsoft.com/office/drawing/2014/main" id="{C2954668-75D6-4DEF-884E-01BA253E5E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B67E653B-A659-4560-9704-FCBA8BE3C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0B00F0B0-42CC-4D64-BCA7-F7F4F8D336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0" name="Group 319">
                <a:extLst>
                  <a:ext uri="{FF2B5EF4-FFF2-40B4-BE49-F238E27FC236}">
                    <a16:creationId xmlns:a16="http://schemas.microsoft.com/office/drawing/2014/main" id="{EBD71495-4294-4A01-9169-0D32FC4CA1F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43" name="Oval 342">
                  <a:extLst>
                    <a:ext uri="{FF2B5EF4-FFF2-40B4-BE49-F238E27FC236}">
                      <a16:creationId xmlns:a16="http://schemas.microsoft.com/office/drawing/2014/main" id="{AE36F710-D3A7-474A-B4B1-1A7ACADE3349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4" name="Oval 343">
                  <a:extLst>
                    <a:ext uri="{FF2B5EF4-FFF2-40B4-BE49-F238E27FC236}">
                      <a16:creationId xmlns:a16="http://schemas.microsoft.com/office/drawing/2014/main" id="{D90382DA-33F4-4E4E-BAB3-46729FBBA63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5" name="Oval 344">
                  <a:extLst>
                    <a:ext uri="{FF2B5EF4-FFF2-40B4-BE49-F238E27FC236}">
                      <a16:creationId xmlns:a16="http://schemas.microsoft.com/office/drawing/2014/main" id="{AA385627-1BAA-4546-8F6C-A8EB0C6B1BFC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6" name="Oval 345">
                  <a:extLst>
                    <a:ext uri="{FF2B5EF4-FFF2-40B4-BE49-F238E27FC236}">
                      <a16:creationId xmlns:a16="http://schemas.microsoft.com/office/drawing/2014/main" id="{68011CA6-A9A8-4947-AFA9-AF34C123DD4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1" name="Oval 320">
                <a:extLst>
                  <a:ext uri="{FF2B5EF4-FFF2-40B4-BE49-F238E27FC236}">
                    <a16:creationId xmlns:a16="http://schemas.microsoft.com/office/drawing/2014/main" id="{E7B74C4E-08E7-48DF-B0A1-C8304D0D0EA7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46C67286-7F37-477D-B5AD-CD1D7FEA105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3" name="Straight Connector 322">
                <a:extLst>
                  <a:ext uri="{FF2B5EF4-FFF2-40B4-BE49-F238E27FC236}">
                    <a16:creationId xmlns:a16="http://schemas.microsoft.com/office/drawing/2014/main" id="{127A47A5-C9E2-44B2-9295-A90D53D6AD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24" name="Oval 323">
                <a:extLst>
                  <a:ext uri="{FF2B5EF4-FFF2-40B4-BE49-F238E27FC236}">
                    <a16:creationId xmlns:a16="http://schemas.microsoft.com/office/drawing/2014/main" id="{4DA88D0E-36CE-4920-825B-95ABF8E782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CB95280-934C-4C8E-A82D-42B8816290A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3A28DC07-C7E1-4B72-BB92-790D52692E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84CD5E0D-8206-45C6-A0A0-01F165063C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8DFE5A99-4CE8-4D2D-A8E1-B2F416BF6557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39" name="Oval 338">
                  <a:extLst>
                    <a:ext uri="{FF2B5EF4-FFF2-40B4-BE49-F238E27FC236}">
                      <a16:creationId xmlns:a16="http://schemas.microsoft.com/office/drawing/2014/main" id="{2C4BDDCD-9BB7-404D-B3B0-4CF3C8075F1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0" name="Oval 339">
                  <a:extLst>
                    <a:ext uri="{FF2B5EF4-FFF2-40B4-BE49-F238E27FC236}">
                      <a16:creationId xmlns:a16="http://schemas.microsoft.com/office/drawing/2014/main" id="{C1F2163A-1409-4044-A249-75FBA974915E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1" name="Oval 340">
                  <a:extLst>
                    <a:ext uri="{FF2B5EF4-FFF2-40B4-BE49-F238E27FC236}">
                      <a16:creationId xmlns:a16="http://schemas.microsoft.com/office/drawing/2014/main" id="{032CD318-9F79-46F9-9C3B-A74CE8C450F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42" name="Oval 341">
                  <a:extLst>
                    <a:ext uri="{FF2B5EF4-FFF2-40B4-BE49-F238E27FC236}">
                      <a16:creationId xmlns:a16="http://schemas.microsoft.com/office/drawing/2014/main" id="{16276CDF-0375-446A-A15E-8DD14E3DCF6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29" name="Oval 328">
                <a:extLst>
                  <a:ext uri="{FF2B5EF4-FFF2-40B4-BE49-F238E27FC236}">
                    <a16:creationId xmlns:a16="http://schemas.microsoft.com/office/drawing/2014/main" id="{A7B4EACC-C834-4491-8C02-BF626A07D78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0" name="Oval 329">
                <a:extLst>
                  <a:ext uri="{FF2B5EF4-FFF2-40B4-BE49-F238E27FC236}">
                    <a16:creationId xmlns:a16="http://schemas.microsoft.com/office/drawing/2014/main" id="{0BE60708-8C11-40CD-BEEF-438922009FE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0EBDB46F-BF51-4B57-8D26-F71C52B2FCF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C937090-0230-4E41-B52A-8AA9D8073F8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C813F56-3AE9-48D7-B3DB-A9ED9D485E7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4" name="Oval 333">
                <a:extLst>
                  <a:ext uri="{FF2B5EF4-FFF2-40B4-BE49-F238E27FC236}">
                    <a16:creationId xmlns:a16="http://schemas.microsoft.com/office/drawing/2014/main" id="{D9F52E51-7C9D-45CE-8158-F2CAFDEA094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874009A3-0138-43A3-9F5A-ACD6AA51F871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01A7D076-6A63-40F6-8107-A3E3195D65B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7" name="Oval 336">
                <a:extLst>
                  <a:ext uri="{FF2B5EF4-FFF2-40B4-BE49-F238E27FC236}">
                    <a16:creationId xmlns:a16="http://schemas.microsoft.com/office/drawing/2014/main" id="{2EA5D818-3201-4301-AD87-4A705095119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8" name="Oval 337">
                <a:extLst>
                  <a:ext uri="{FF2B5EF4-FFF2-40B4-BE49-F238E27FC236}">
                    <a16:creationId xmlns:a16="http://schemas.microsoft.com/office/drawing/2014/main" id="{26EEDF7B-BCF9-46CC-9EDC-70274B25A9C7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AB3E5A61-3199-4699-B155-5ED02BF89724}"/>
                </a:ext>
              </a:extLst>
            </p:cNvPr>
            <p:cNvGrpSpPr/>
            <p:nvPr/>
          </p:nvGrpSpPr>
          <p:grpSpPr>
            <a:xfrm>
              <a:off x="7866937" y="4336230"/>
              <a:ext cx="2609224" cy="643538"/>
              <a:chOff x="330424" y="3751799"/>
              <a:chExt cx="15193725" cy="3747377"/>
            </a:xfrm>
          </p:grpSpPr>
          <p:sp>
            <p:nvSpPr>
              <p:cNvPr id="348" name="Arrow: Pentagon 347">
                <a:extLst>
                  <a:ext uri="{FF2B5EF4-FFF2-40B4-BE49-F238E27FC236}">
                    <a16:creationId xmlns:a16="http://schemas.microsoft.com/office/drawing/2014/main" id="{9229A2C0-4D12-4167-A46D-1AC8294934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50BE658A-9FB3-41AC-BCAC-C4792EB6B0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4D1FA263-B0DE-4CAD-8A6E-A66A07339A20}"/>
                  </a:ext>
                </a:extLst>
              </p:cNvPr>
              <p:cNvCxnSpPr>
                <a:cxnSpLocks/>
                <a:endCxn id="38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03B73627-CB1F-4867-8A29-C62B979BC7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88706D86-3C9E-4F42-92CF-4CABE0A512A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E242C81-B836-43BA-943E-7CCCC7B49E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C1F41051-7B22-40AD-986E-9DC72D88808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20D77CEB-206E-4459-A1B4-2E81CD5F3F2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D20CA94B-A844-4AB2-B611-C031087CB4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C9D3FF2-66EB-4C76-BA1F-34D5470662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123AB2B0-C9B0-4255-9382-982393C624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Straight Connector 358">
                <a:extLst>
                  <a:ext uri="{FF2B5EF4-FFF2-40B4-BE49-F238E27FC236}">
                    <a16:creationId xmlns:a16="http://schemas.microsoft.com/office/drawing/2014/main" id="{19E9EE26-D94B-454E-806C-8A6DACC196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0" name="Straight Connector 359">
                <a:extLst>
                  <a:ext uri="{FF2B5EF4-FFF2-40B4-BE49-F238E27FC236}">
                    <a16:creationId xmlns:a16="http://schemas.microsoft.com/office/drawing/2014/main" id="{57E2D90E-44C1-4B83-8B44-D3E7848EA4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9E04F079-6EE9-42F7-A9C7-16157FE3D1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2" name="Straight Connector 361">
                <a:extLst>
                  <a:ext uri="{FF2B5EF4-FFF2-40B4-BE49-F238E27FC236}">
                    <a16:creationId xmlns:a16="http://schemas.microsoft.com/office/drawing/2014/main" id="{7D2CB014-A0CA-4AF0-9271-2CF6C7EC9C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F9633411-3606-4432-BC94-616EC11DF61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386" name="Oval 385">
                  <a:extLst>
                    <a:ext uri="{FF2B5EF4-FFF2-40B4-BE49-F238E27FC236}">
                      <a16:creationId xmlns:a16="http://schemas.microsoft.com/office/drawing/2014/main" id="{C950227F-6FAE-468D-BA45-71C519994A1E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7" name="Oval 386">
                  <a:extLst>
                    <a:ext uri="{FF2B5EF4-FFF2-40B4-BE49-F238E27FC236}">
                      <a16:creationId xmlns:a16="http://schemas.microsoft.com/office/drawing/2014/main" id="{209A6CED-C0D1-49BB-88C5-5828EFDA8CA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8" name="Oval 387">
                  <a:extLst>
                    <a:ext uri="{FF2B5EF4-FFF2-40B4-BE49-F238E27FC236}">
                      <a16:creationId xmlns:a16="http://schemas.microsoft.com/office/drawing/2014/main" id="{D05BC35F-2911-4993-B646-8C9D0797A08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9" name="Oval 388">
                  <a:extLst>
                    <a:ext uri="{FF2B5EF4-FFF2-40B4-BE49-F238E27FC236}">
                      <a16:creationId xmlns:a16="http://schemas.microsoft.com/office/drawing/2014/main" id="{60E19E60-1A88-4549-9E25-427BA038F7C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AD86FF21-6E4A-4FD4-8BC5-6645581FCB1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28DF108B-A385-46FA-8C2D-A6E7D32FFC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00C44BD8-C792-46F4-8FAB-78AAAAC06E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B92865D2-F228-4C46-8B53-1A8169CB819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71C274A3-7FCE-41B6-9FD8-1A3C7CA5239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69" name="Straight Connector 368">
                <a:extLst>
                  <a:ext uri="{FF2B5EF4-FFF2-40B4-BE49-F238E27FC236}">
                    <a16:creationId xmlns:a16="http://schemas.microsoft.com/office/drawing/2014/main" id="{0B00B11B-6DAC-4E3F-8642-BB59DE4BB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70" name="Straight Connector 369">
                <a:extLst>
                  <a:ext uri="{FF2B5EF4-FFF2-40B4-BE49-F238E27FC236}">
                    <a16:creationId xmlns:a16="http://schemas.microsoft.com/office/drawing/2014/main" id="{DBB2A9E4-013F-4C77-AEA4-4F51C8E643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371" name="Group 370">
                <a:extLst>
                  <a:ext uri="{FF2B5EF4-FFF2-40B4-BE49-F238E27FC236}">
                    <a16:creationId xmlns:a16="http://schemas.microsoft.com/office/drawing/2014/main" id="{D9891306-6B17-4C44-BC02-E236130CC8A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382" name="Oval 381">
                  <a:extLst>
                    <a:ext uri="{FF2B5EF4-FFF2-40B4-BE49-F238E27FC236}">
                      <a16:creationId xmlns:a16="http://schemas.microsoft.com/office/drawing/2014/main" id="{02F0A84E-D211-4D18-9C1E-23FE9B97539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3" name="Oval 382">
                  <a:extLst>
                    <a:ext uri="{FF2B5EF4-FFF2-40B4-BE49-F238E27FC236}">
                      <a16:creationId xmlns:a16="http://schemas.microsoft.com/office/drawing/2014/main" id="{4CF16355-F913-454F-9088-21911030DBA8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4" name="Oval 383">
                  <a:extLst>
                    <a:ext uri="{FF2B5EF4-FFF2-40B4-BE49-F238E27FC236}">
                      <a16:creationId xmlns:a16="http://schemas.microsoft.com/office/drawing/2014/main" id="{FB082897-BBCD-4EF8-B384-CD5B5571DDBF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85" name="Oval 384">
                  <a:extLst>
                    <a:ext uri="{FF2B5EF4-FFF2-40B4-BE49-F238E27FC236}">
                      <a16:creationId xmlns:a16="http://schemas.microsoft.com/office/drawing/2014/main" id="{E380C8AE-8865-44C6-A76C-A464D7D0B98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72" name="Oval 371">
                <a:extLst>
                  <a:ext uri="{FF2B5EF4-FFF2-40B4-BE49-F238E27FC236}">
                    <a16:creationId xmlns:a16="http://schemas.microsoft.com/office/drawing/2014/main" id="{2939A615-811F-463F-AABE-66C7F1A7AAB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3" name="Oval 372">
                <a:extLst>
                  <a:ext uri="{FF2B5EF4-FFF2-40B4-BE49-F238E27FC236}">
                    <a16:creationId xmlns:a16="http://schemas.microsoft.com/office/drawing/2014/main" id="{CD782BAC-2C52-4B2D-AA97-80A5BF25173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4" name="Oval 373">
                <a:extLst>
                  <a:ext uri="{FF2B5EF4-FFF2-40B4-BE49-F238E27FC236}">
                    <a16:creationId xmlns:a16="http://schemas.microsoft.com/office/drawing/2014/main" id="{2F8641FC-FCD6-4327-88C9-3CD5E124971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5" name="Oval 374">
                <a:extLst>
                  <a:ext uri="{FF2B5EF4-FFF2-40B4-BE49-F238E27FC236}">
                    <a16:creationId xmlns:a16="http://schemas.microsoft.com/office/drawing/2014/main" id="{E2447890-F64E-42A1-B5ED-FDA2649B179F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6" name="Oval 375">
                <a:extLst>
                  <a:ext uri="{FF2B5EF4-FFF2-40B4-BE49-F238E27FC236}">
                    <a16:creationId xmlns:a16="http://schemas.microsoft.com/office/drawing/2014/main" id="{CF33BEA8-CD91-4D8B-A02B-6E3DBF7FA6B6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7" name="Oval 376">
                <a:extLst>
                  <a:ext uri="{FF2B5EF4-FFF2-40B4-BE49-F238E27FC236}">
                    <a16:creationId xmlns:a16="http://schemas.microsoft.com/office/drawing/2014/main" id="{F2C3352B-3066-476D-A35E-07F3AF0EE6BC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8" name="Oval 377">
                <a:extLst>
                  <a:ext uri="{FF2B5EF4-FFF2-40B4-BE49-F238E27FC236}">
                    <a16:creationId xmlns:a16="http://schemas.microsoft.com/office/drawing/2014/main" id="{BC407F8E-735E-484A-840D-A0ED004B893E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95046F66-2AF9-4806-A404-66036E97AB5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1A1ED253-DFCE-4AF7-93D5-865F5E43BDA1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A3A371DB-212D-43B0-9303-D73ECBEC7F3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7F89033C-0757-4E79-8830-5077444D43F3}"/>
                </a:ext>
              </a:extLst>
            </p:cNvPr>
            <p:cNvGrpSpPr/>
            <p:nvPr/>
          </p:nvGrpSpPr>
          <p:grpSpPr>
            <a:xfrm>
              <a:off x="4946908" y="4448555"/>
              <a:ext cx="2609224" cy="643538"/>
              <a:chOff x="330424" y="3751799"/>
              <a:chExt cx="15193725" cy="3747377"/>
            </a:xfrm>
          </p:grpSpPr>
          <p:sp>
            <p:nvSpPr>
              <p:cNvPr id="391" name="Arrow: Pentagon 390">
                <a:extLst>
                  <a:ext uri="{FF2B5EF4-FFF2-40B4-BE49-F238E27FC236}">
                    <a16:creationId xmlns:a16="http://schemas.microsoft.com/office/drawing/2014/main" id="{8F88170F-54F2-4E5B-881C-B8F77FF3191E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92" name="Straight Connector 391">
                <a:extLst>
                  <a:ext uri="{FF2B5EF4-FFF2-40B4-BE49-F238E27FC236}">
                    <a16:creationId xmlns:a16="http://schemas.microsoft.com/office/drawing/2014/main" id="{FC36E438-3519-4552-8DCF-EDFEBE16E8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3" name="Straight Connector 392">
                <a:extLst>
                  <a:ext uri="{FF2B5EF4-FFF2-40B4-BE49-F238E27FC236}">
                    <a16:creationId xmlns:a16="http://schemas.microsoft.com/office/drawing/2014/main" id="{F471BC97-FC5C-4430-8F3C-41758553CA18}"/>
                  </a:ext>
                </a:extLst>
              </p:cNvPr>
              <p:cNvCxnSpPr>
                <a:cxnSpLocks/>
                <a:endCxn id="429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4" name="Straight Connector 393">
                <a:extLst>
                  <a:ext uri="{FF2B5EF4-FFF2-40B4-BE49-F238E27FC236}">
                    <a16:creationId xmlns:a16="http://schemas.microsoft.com/office/drawing/2014/main" id="{2B1177AD-C154-4552-B3E6-BC17D69457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5" name="Straight Connector 394">
                <a:extLst>
                  <a:ext uri="{FF2B5EF4-FFF2-40B4-BE49-F238E27FC236}">
                    <a16:creationId xmlns:a16="http://schemas.microsoft.com/office/drawing/2014/main" id="{C55FE334-BBA1-4712-8C63-76A265FE7D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6D07C684-B61F-4FD9-BDAE-3DD1042D8C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EC583AB-1AF6-4F48-B0A6-27FFD24BD73E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20421334-11B4-4064-B220-40497A58843C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460D404E-E578-45F1-9755-D20462D541F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9BD39092-DE22-4410-A7C6-DBFB6417B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A3D9F126-125F-4334-860C-8D1F11BF12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DE70051F-D572-4B96-9E88-5DC1D03E95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DC6B8206-B88B-4400-B60D-4286CCEAD9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4" name="Straight Connector 403">
                <a:extLst>
                  <a:ext uri="{FF2B5EF4-FFF2-40B4-BE49-F238E27FC236}">
                    <a16:creationId xmlns:a16="http://schemas.microsoft.com/office/drawing/2014/main" id="{53C300E2-B7CF-4628-A51D-9C394AAF11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3D2E187C-52CD-4331-BCAB-8325337AAF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06" name="Group 405">
                <a:extLst>
                  <a:ext uri="{FF2B5EF4-FFF2-40B4-BE49-F238E27FC236}">
                    <a16:creationId xmlns:a16="http://schemas.microsoft.com/office/drawing/2014/main" id="{AA0265FB-894F-4725-822A-6FF9A1D90CFF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29" name="Oval 428">
                  <a:extLst>
                    <a:ext uri="{FF2B5EF4-FFF2-40B4-BE49-F238E27FC236}">
                      <a16:creationId xmlns:a16="http://schemas.microsoft.com/office/drawing/2014/main" id="{C85CF08C-A320-4AD5-87F5-D7471414764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0" name="Oval 429">
                  <a:extLst>
                    <a:ext uri="{FF2B5EF4-FFF2-40B4-BE49-F238E27FC236}">
                      <a16:creationId xmlns:a16="http://schemas.microsoft.com/office/drawing/2014/main" id="{EC3EA798-8583-41BD-B7C2-DC1C8454BE0F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1" name="Oval 430">
                  <a:extLst>
                    <a:ext uri="{FF2B5EF4-FFF2-40B4-BE49-F238E27FC236}">
                      <a16:creationId xmlns:a16="http://schemas.microsoft.com/office/drawing/2014/main" id="{02BE5422-1136-4B80-A6E9-60B09868178D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2" name="Oval 431">
                  <a:extLst>
                    <a:ext uri="{FF2B5EF4-FFF2-40B4-BE49-F238E27FC236}">
                      <a16:creationId xmlns:a16="http://schemas.microsoft.com/office/drawing/2014/main" id="{1CDAE893-32FA-47BF-AA0F-304CC7CA2681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96CF460C-5596-48E6-A77F-5D9D547C455E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DD5B96F9-98CE-4AA3-BFC0-11D5B59D4F6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9" name="Straight Connector 408">
                <a:extLst>
                  <a:ext uri="{FF2B5EF4-FFF2-40B4-BE49-F238E27FC236}">
                    <a16:creationId xmlns:a16="http://schemas.microsoft.com/office/drawing/2014/main" id="{BDBC8114-8710-4C95-AD2F-A0A9EF64013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C615BE8A-2EB7-4370-B4AA-F5D2CA44C811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75FF33E1-7E29-44E4-91EE-D1F70CD3568A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E599BA35-660E-4885-A0C8-BF6118D1B8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A72CC226-24A1-42DA-A130-6E5C14185D0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14" name="Group 413">
                <a:extLst>
                  <a:ext uri="{FF2B5EF4-FFF2-40B4-BE49-F238E27FC236}">
                    <a16:creationId xmlns:a16="http://schemas.microsoft.com/office/drawing/2014/main" id="{B102C949-0336-44B4-AB26-6B912C52412A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25" name="Oval 424">
                  <a:extLst>
                    <a:ext uri="{FF2B5EF4-FFF2-40B4-BE49-F238E27FC236}">
                      <a16:creationId xmlns:a16="http://schemas.microsoft.com/office/drawing/2014/main" id="{BE5BF5B4-AEFD-4283-BDEB-EDCABCCBD1C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6" name="Oval 425">
                  <a:extLst>
                    <a:ext uri="{FF2B5EF4-FFF2-40B4-BE49-F238E27FC236}">
                      <a16:creationId xmlns:a16="http://schemas.microsoft.com/office/drawing/2014/main" id="{D2C95F16-6641-4D7A-8A2A-3C28E47CBE9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7" name="Oval 426">
                  <a:extLst>
                    <a:ext uri="{FF2B5EF4-FFF2-40B4-BE49-F238E27FC236}">
                      <a16:creationId xmlns:a16="http://schemas.microsoft.com/office/drawing/2014/main" id="{60517B95-63E1-4300-B9B2-AEDA59C4B2E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28" name="Oval 427">
                  <a:extLst>
                    <a:ext uri="{FF2B5EF4-FFF2-40B4-BE49-F238E27FC236}">
                      <a16:creationId xmlns:a16="http://schemas.microsoft.com/office/drawing/2014/main" id="{30500782-E032-4B3F-AA15-DDF40EFFA73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3CF1F170-5DAB-4492-A7BE-4E5E95115E89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2BB053DF-7459-4BF5-9C01-B640A13DCE44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4445D576-4DCD-4034-88D9-C4C75F02C595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194C8F98-C514-4EBC-AC3E-208D5869FB5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F796838F-6E80-4A1D-A27B-62CF2DFBE70E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7A5B04C-14CF-403D-8D89-24AF7DB112AE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96DD62E9-8D1D-4493-A010-523F60C8C32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098BD61F-66DE-4FAF-872A-4691D1F4468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D7DA3CB6-7054-4C91-B725-81631CA791F6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378FE48F-C571-4F61-8426-CD964F09DD63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33" name="Group 432">
              <a:extLst>
                <a:ext uri="{FF2B5EF4-FFF2-40B4-BE49-F238E27FC236}">
                  <a16:creationId xmlns:a16="http://schemas.microsoft.com/office/drawing/2014/main" id="{ECD0524B-0DE4-445B-8399-8C082500F81A}"/>
                </a:ext>
              </a:extLst>
            </p:cNvPr>
            <p:cNvGrpSpPr/>
            <p:nvPr/>
          </p:nvGrpSpPr>
          <p:grpSpPr>
            <a:xfrm>
              <a:off x="4581933" y="3326987"/>
              <a:ext cx="2609224" cy="643538"/>
              <a:chOff x="330424" y="3751799"/>
              <a:chExt cx="15193725" cy="3747377"/>
            </a:xfrm>
          </p:grpSpPr>
          <p:sp>
            <p:nvSpPr>
              <p:cNvPr id="434" name="Arrow: Pentagon 433">
                <a:extLst>
                  <a:ext uri="{FF2B5EF4-FFF2-40B4-BE49-F238E27FC236}">
                    <a16:creationId xmlns:a16="http://schemas.microsoft.com/office/drawing/2014/main" id="{470B9D0B-EEDD-42C7-9503-16823B8E19A7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83999232-0D80-48F7-9FD3-2C5BC852BC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00860C8B-CE76-4F75-90F9-1B843A61FB2E}"/>
                  </a:ext>
                </a:extLst>
              </p:cNvPr>
              <p:cNvCxnSpPr>
                <a:cxnSpLocks/>
                <a:endCxn id="47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7" name="Straight Connector 436">
                <a:extLst>
                  <a:ext uri="{FF2B5EF4-FFF2-40B4-BE49-F238E27FC236}">
                    <a16:creationId xmlns:a16="http://schemas.microsoft.com/office/drawing/2014/main" id="{4BAE9F90-35D0-485A-9B52-1717641D82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10155EF9-40ED-4C45-ADC7-4F9C7746AD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90ABEE7C-E850-43B7-BC3A-0C88AC5702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CA1053CF-3827-47E5-AD70-427AAB59C9C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AE4043C1-AD33-47C5-8704-243322AC5C1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68BD5DA3-60AE-43D7-AB4F-BB9312B8D3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3" name="Straight Connector 442">
                <a:extLst>
                  <a:ext uri="{FF2B5EF4-FFF2-40B4-BE49-F238E27FC236}">
                    <a16:creationId xmlns:a16="http://schemas.microsoft.com/office/drawing/2014/main" id="{417C2A81-9813-478A-84BB-66E6B46E3B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26262783-BC99-4880-9DB6-1AFF414CAB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C027B4D3-2BB7-43E6-A7B1-D1504CDA87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6" name="Straight Connector 445">
                <a:extLst>
                  <a:ext uri="{FF2B5EF4-FFF2-40B4-BE49-F238E27FC236}">
                    <a16:creationId xmlns:a16="http://schemas.microsoft.com/office/drawing/2014/main" id="{4029FDF0-4E4B-4887-B937-F5BCC4D5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3CCC8650-1D30-4031-A0E6-0FA215EDF6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9CD5C3FA-FBE6-44F6-BB84-012551B01A3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49" name="Group 448">
                <a:extLst>
                  <a:ext uri="{FF2B5EF4-FFF2-40B4-BE49-F238E27FC236}">
                    <a16:creationId xmlns:a16="http://schemas.microsoft.com/office/drawing/2014/main" id="{EF74D20F-4A2D-4409-B31C-7AF343E2D57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472" name="Oval 471">
                  <a:extLst>
                    <a:ext uri="{FF2B5EF4-FFF2-40B4-BE49-F238E27FC236}">
                      <a16:creationId xmlns:a16="http://schemas.microsoft.com/office/drawing/2014/main" id="{A84DCDFB-F9A1-4520-BDE6-A1B096065336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3" name="Oval 472">
                  <a:extLst>
                    <a:ext uri="{FF2B5EF4-FFF2-40B4-BE49-F238E27FC236}">
                      <a16:creationId xmlns:a16="http://schemas.microsoft.com/office/drawing/2014/main" id="{DE866A00-0178-44A7-B935-0C7769889692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4" name="Oval 473">
                  <a:extLst>
                    <a:ext uri="{FF2B5EF4-FFF2-40B4-BE49-F238E27FC236}">
                      <a16:creationId xmlns:a16="http://schemas.microsoft.com/office/drawing/2014/main" id="{BEB5AB94-9823-4B35-85A7-E7FA183BEC81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5" name="Oval 474">
                  <a:extLst>
                    <a:ext uri="{FF2B5EF4-FFF2-40B4-BE49-F238E27FC236}">
                      <a16:creationId xmlns:a16="http://schemas.microsoft.com/office/drawing/2014/main" id="{D466E187-C781-4BA4-A014-861C3C33B2E4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E3A86833-1CAD-4031-83E8-96739B0AF44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4D77A3B6-3BC8-465C-9F8E-7D0AFD13D7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2" name="Straight Connector 451">
                <a:extLst>
                  <a:ext uri="{FF2B5EF4-FFF2-40B4-BE49-F238E27FC236}">
                    <a16:creationId xmlns:a16="http://schemas.microsoft.com/office/drawing/2014/main" id="{B87121D3-3E7B-4A6F-8702-20027293B3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DB5E0383-336C-4779-BF3E-17CBE6A7C7E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0C7E10B4-34AE-49E2-A13A-D4475CD6AAC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55" name="Straight Connector 454">
                <a:extLst>
                  <a:ext uri="{FF2B5EF4-FFF2-40B4-BE49-F238E27FC236}">
                    <a16:creationId xmlns:a16="http://schemas.microsoft.com/office/drawing/2014/main" id="{C3E7E5B4-CF0D-480C-A7CA-1ED1A5F80E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E1F8E363-AF78-4B38-A949-14666EC6A0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57" name="Group 456">
                <a:extLst>
                  <a:ext uri="{FF2B5EF4-FFF2-40B4-BE49-F238E27FC236}">
                    <a16:creationId xmlns:a16="http://schemas.microsoft.com/office/drawing/2014/main" id="{3450D6CA-F85C-4F2B-8C99-C76A88BBF032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468" name="Oval 467">
                  <a:extLst>
                    <a:ext uri="{FF2B5EF4-FFF2-40B4-BE49-F238E27FC236}">
                      <a16:creationId xmlns:a16="http://schemas.microsoft.com/office/drawing/2014/main" id="{E3E64A22-D91B-4355-92DD-3C483AD06175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9" name="Oval 468">
                  <a:extLst>
                    <a:ext uri="{FF2B5EF4-FFF2-40B4-BE49-F238E27FC236}">
                      <a16:creationId xmlns:a16="http://schemas.microsoft.com/office/drawing/2014/main" id="{953E94C4-600E-4754-A20A-DCF08FAB7839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0" name="Oval 469">
                  <a:extLst>
                    <a:ext uri="{FF2B5EF4-FFF2-40B4-BE49-F238E27FC236}">
                      <a16:creationId xmlns:a16="http://schemas.microsoft.com/office/drawing/2014/main" id="{80C48699-1FB9-4B56-BC52-EDEACA472D1B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71" name="Oval 470">
                  <a:extLst>
                    <a:ext uri="{FF2B5EF4-FFF2-40B4-BE49-F238E27FC236}">
                      <a16:creationId xmlns:a16="http://schemas.microsoft.com/office/drawing/2014/main" id="{04EA4937-E1F1-481A-B679-0792019429B2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BD018C23-1894-44A3-BB24-1B7BA2014C9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D8A892E9-1FBF-4FD5-9877-915252460F0C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048D812B-7E9B-4345-B12A-0AFF1200736A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401525FD-AD4B-4437-AE61-C84FE605CB64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2D3B5978-B1C4-4E5F-9E85-423CCEED6CC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69940C4F-0F72-4349-8BA7-0201AEB4DBF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5899D571-F793-4DA5-B254-84FD72C91A0C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70D1D591-2951-4C7C-95CF-554EAEF8FA28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D69405CC-6FEB-4AD2-B7B1-D64E1B90628C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F9CF12A1-878F-4EFF-AA5F-3815F454A68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FBF1B06C-D937-4B2C-B593-9529F5B6C5F2}"/>
                </a:ext>
              </a:extLst>
            </p:cNvPr>
            <p:cNvGrpSpPr/>
            <p:nvPr/>
          </p:nvGrpSpPr>
          <p:grpSpPr>
            <a:xfrm>
              <a:off x="7735411" y="2802969"/>
              <a:ext cx="2609224" cy="643538"/>
              <a:chOff x="330424" y="3751799"/>
              <a:chExt cx="15193725" cy="3747377"/>
            </a:xfrm>
          </p:grpSpPr>
          <p:sp>
            <p:nvSpPr>
              <p:cNvPr id="477" name="Arrow: Pentagon 476">
                <a:extLst>
                  <a:ext uri="{FF2B5EF4-FFF2-40B4-BE49-F238E27FC236}">
                    <a16:creationId xmlns:a16="http://schemas.microsoft.com/office/drawing/2014/main" id="{17D0238B-AD15-4250-8D3C-B72B5CF6637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F91DEE3C-CE79-4F9D-B99C-7362F457CB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79" name="Straight Connector 478">
                <a:extLst>
                  <a:ext uri="{FF2B5EF4-FFF2-40B4-BE49-F238E27FC236}">
                    <a16:creationId xmlns:a16="http://schemas.microsoft.com/office/drawing/2014/main" id="{160C01EC-46D8-4D6C-B457-09940DE7A318}"/>
                  </a:ext>
                </a:extLst>
              </p:cNvPr>
              <p:cNvCxnSpPr>
                <a:cxnSpLocks/>
                <a:endCxn id="515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7376C03A-EE92-4091-80B4-4E8253F683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4626F678-0D9D-493E-B8DC-F2025BD803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2" name="Straight Connector 481">
                <a:extLst>
                  <a:ext uri="{FF2B5EF4-FFF2-40B4-BE49-F238E27FC236}">
                    <a16:creationId xmlns:a16="http://schemas.microsoft.com/office/drawing/2014/main" id="{72641784-CE60-4C12-AA84-CCDB1C921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12F8BC9C-2D75-41B9-BF18-2E41516DCFE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84" name="Oval 483">
                <a:extLst>
                  <a:ext uri="{FF2B5EF4-FFF2-40B4-BE49-F238E27FC236}">
                    <a16:creationId xmlns:a16="http://schemas.microsoft.com/office/drawing/2014/main" id="{7EF52D04-5899-4126-B761-8DFFEFB4909B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85" name="Straight Connector 484">
                <a:extLst>
                  <a:ext uri="{FF2B5EF4-FFF2-40B4-BE49-F238E27FC236}">
                    <a16:creationId xmlns:a16="http://schemas.microsoft.com/office/drawing/2014/main" id="{47378249-2808-471D-BCE1-C4DBED095ED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0F44670B-5E37-48E8-A5C7-DF48C6B380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C980CBEF-1DB8-4EC1-9C86-21A4ADDDAB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04E696A6-636B-499C-A774-A1D51EC079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2CADFDF3-563C-4E24-A415-10037AA0B0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CA8E437B-B0A7-4E3D-BE25-2723ACFEE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9B9543E7-7747-40E2-BAFE-5545F92BC12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492" name="Group 491">
                <a:extLst>
                  <a:ext uri="{FF2B5EF4-FFF2-40B4-BE49-F238E27FC236}">
                    <a16:creationId xmlns:a16="http://schemas.microsoft.com/office/drawing/2014/main" id="{CE5D35EA-D4B6-4FD8-9A89-710085D8622C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15" name="Oval 514">
                  <a:extLst>
                    <a:ext uri="{FF2B5EF4-FFF2-40B4-BE49-F238E27FC236}">
                      <a16:creationId xmlns:a16="http://schemas.microsoft.com/office/drawing/2014/main" id="{79BDC24A-38F5-40F6-8148-58602DA03361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6" name="Oval 515">
                  <a:extLst>
                    <a:ext uri="{FF2B5EF4-FFF2-40B4-BE49-F238E27FC236}">
                      <a16:creationId xmlns:a16="http://schemas.microsoft.com/office/drawing/2014/main" id="{4A9535A1-4F99-41CA-8E35-A4BB7C7228DD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7" name="Oval 516">
                  <a:extLst>
                    <a:ext uri="{FF2B5EF4-FFF2-40B4-BE49-F238E27FC236}">
                      <a16:creationId xmlns:a16="http://schemas.microsoft.com/office/drawing/2014/main" id="{F8F9BF16-62FD-4568-AC68-24824099C6A0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8" name="Oval 517">
                  <a:extLst>
                    <a:ext uri="{FF2B5EF4-FFF2-40B4-BE49-F238E27FC236}">
                      <a16:creationId xmlns:a16="http://schemas.microsoft.com/office/drawing/2014/main" id="{C45BC8BF-F1A0-41A4-BE18-FB7BBF471688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AA1C1C14-A6D4-42E0-BF97-5791F1410F4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6166F5D2-5094-4220-A2F9-A61BE2938D8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78E16DB7-DA78-4700-99CE-6D9ED02A628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96" name="Oval 495">
                <a:extLst>
                  <a:ext uri="{FF2B5EF4-FFF2-40B4-BE49-F238E27FC236}">
                    <a16:creationId xmlns:a16="http://schemas.microsoft.com/office/drawing/2014/main" id="{7B3A708C-8033-4786-B8A4-89D3C2B9F5E5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497" name="Oval 496">
                <a:extLst>
                  <a:ext uri="{FF2B5EF4-FFF2-40B4-BE49-F238E27FC236}">
                    <a16:creationId xmlns:a16="http://schemas.microsoft.com/office/drawing/2014/main" id="{72591957-6EDC-42D8-A5EA-A18E62F1E06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FE87E0D4-084E-4C10-B37A-49AD9010D6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891FD1C0-82FF-43EF-A1A3-022AC605A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00" name="Group 499">
                <a:extLst>
                  <a:ext uri="{FF2B5EF4-FFF2-40B4-BE49-F238E27FC236}">
                    <a16:creationId xmlns:a16="http://schemas.microsoft.com/office/drawing/2014/main" id="{E673D08B-5012-4BC3-A2A7-A501619AB561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11" name="Oval 510">
                  <a:extLst>
                    <a:ext uri="{FF2B5EF4-FFF2-40B4-BE49-F238E27FC236}">
                      <a16:creationId xmlns:a16="http://schemas.microsoft.com/office/drawing/2014/main" id="{94A1863B-491F-4BE7-9670-F20740F22072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2" name="Oval 511">
                  <a:extLst>
                    <a:ext uri="{FF2B5EF4-FFF2-40B4-BE49-F238E27FC236}">
                      <a16:creationId xmlns:a16="http://schemas.microsoft.com/office/drawing/2014/main" id="{92487B39-719A-4EB7-BA43-6F941E4BB8AF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3" name="Oval 512">
                  <a:extLst>
                    <a:ext uri="{FF2B5EF4-FFF2-40B4-BE49-F238E27FC236}">
                      <a16:creationId xmlns:a16="http://schemas.microsoft.com/office/drawing/2014/main" id="{70595B5C-6B13-45FE-9512-18C6A7414C23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4" name="Oval 513">
                  <a:extLst>
                    <a:ext uri="{FF2B5EF4-FFF2-40B4-BE49-F238E27FC236}">
                      <a16:creationId xmlns:a16="http://schemas.microsoft.com/office/drawing/2014/main" id="{ED65D217-372E-4E05-924F-29AE119C68E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01" name="Oval 500">
                <a:extLst>
                  <a:ext uri="{FF2B5EF4-FFF2-40B4-BE49-F238E27FC236}">
                    <a16:creationId xmlns:a16="http://schemas.microsoft.com/office/drawing/2014/main" id="{74C29BDA-6708-4233-9631-60EE69F03EDC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2" name="Oval 501">
                <a:extLst>
                  <a:ext uri="{FF2B5EF4-FFF2-40B4-BE49-F238E27FC236}">
                    <a16:creationId xmlns:a16="http://schemas.microsoft.com/office/drawing/2014/main" id="{E6D01FD7-C5CD-4B43-9B82-3D37C7F2B0C6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3" name="Oval 502">
                <a:extLst>
                  <a:ext uri="{FF2B5EF4-FFF2-40B4-BE49-F238E27FC236}">
                    <a16:creationId xmlns:a16="http://schemas.microsoft.com/office/drawing/2014/main" id="{39891905-0FEA-4758-939D-9667C10B2932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4" name="Oval 503">
                <a:extLst>
                  <a:ext uri="{FF2B5EF4-FFF2-40B4-BE49-F238E27FC236}">
                    <a16:creationId xmlns:a16="http://schemas.microsoft.com/office/drawing/2014/main" id="{41DB6572-9695-47EA-9E76-32FA832122C7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2DAD10BE-9C96-481E-B6CE-B7C632DA4A2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6" name="Oval 505">
                <a:extLst>
                  <a:ext uri="{FF2B5EF4-FFF2-40B4-BE49-F238E27FC236}">
                    <a16:creationId xmlns:a16="http://schemas.microsoft.com/office/drawing/2014/main" id="{578F2078-D6F8-4DDD-BFD8-4B3919D5724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AB696CCA-F1DA-4228-9F7F-0D86E31DC48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8" name="Oval 507">
                <a:extLst>
                  <a:ext uri="{FF2B5EF4-FFF2-40B4-BE49-F238E27FC236}">
                    <a16:creationId xmlns:a16="http://schemas.microsoft.com/office/drawing/2014/main" id="{40690A6B-E1F1-4BA6-A095-1D9F603071B1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6F52D7A5-BBB3-4E3A-AB23-ECCFEFF220D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259E2901-DB12-4829-A849-D3A85CE272D9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3" name="Group 522">
              <a:extLst>
                <a:ext uri="{FF2B5EF4-FFF2-40B4-BE49-F238E27FC236}">
                  <a16:creationId xmlns:a16="http://schemas.microsoft.com/office/drawing/2014/main" id="{ECFEA3D4-55DA-41E3-82E4-0E1B429C966B}"/>
                </a:ext>
              </a:extLst>
            </p:cNvPr>
            <p:cNvGrpSpPr/>
            <p:nvPr/>
          </p:nvGrpSpPr>
          <p:grpSpPr>
            <a:xfrm>
              <a:off x="3830232" y="5418430"/>
              <a:ext cx="2609224" cy="643538"/>
              <a:chOff x="330424" y="3751799"/>
              <a:chExt cx="15193725" cy="3747377"/>
            </a:xfrm>
          </p:grpSpPr>
          <p:sp>
            <p:nvSpPr>
              <p:cNvPr id="868" name="Arrow: Pentagon 867">
                <a:extLst>
                  <a:ext uri="{FF2B5EF4-FFF2-40B4-BE49-F238E27FC236}">
                    <a16:creationId xmlns:a16="http://schemas.microsoft.com/office/drawing/2014/main" id="{78C0B67B-8140-427D-BC5F-F505F49536F0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EB5901B3-C933-4EEE-A157-E766B3EC28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0" name="Straight Connector 869">
                <a:extLst>
                  <a:ext uri="{FF2B5EF4-FFF2-40B4-BE49-F238E27FC236}">
                    <a16:creationId xmlns:a16="http://schemas.microsoft.com/office/drawing/2014/main" id="{6D661CE2-2884-48EE-9F1A-D951AAF1EA6A}"/>
                  </a:ext>
                </a:extLst>
              </p:cNvPr>
              <p:cNvCxnSpPr>
                <a:cxnSpLocks/>
                <a:endCxn id="90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1" name="Straight Connector 870">
                <a:extLst>
                  <a:ext uri="{FF2B5EF4-FFF2-40B4-BE49-F238E27FC236}">
                    <a16:creationId xmlns:a16="http://schemas.microsoft.com/office/drawing/2014/main" id="{F375B046-1065-46E1-A55C-90A445F3C2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F7FE3D1B-703D-44C3-8336-50E2AB3090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0931A829-4C8B-4E24-80B0-42763C21F8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9C23A9AC-2224-4AC1-AACF-7303DF49B949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75" name="Oval 874">
                <a:extLst>
                  <a:ext uri="{FF2B5EF4-FFF2-40B4-BE49-F238E27FC236}">
                    <a16:creationId xmlns:a16="http://schemas.microsoft.com/office/drawing/2014/main" id="{A8DD1ADB-FBA6-4292-8C4F-33E211234817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15DBFE75-6780-45AB-BE91-286A5DDC770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1ADEFBF0-2D97-41C2-AD41-E93C9F7B7F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8" name="Straight Connector 877">
                <a:extLst>
                  <a:ext uri="{FF2B5EF4-FFF2-40B4-BE49-F238E27FC236}">
                    <a16:creationId xmlns:a16="http://schemas.microsoft.com/office/drawing/2014/main" id="{085E8075-5A30-4F76-BC50-80D924BE6B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79" name="Straight Connector 878">
                <a:extLst>
                  <a:ext uri="{FF2B5EF4-FFF2-40B4-BE49-F238E27FC236}">
                    <a16:creationId xmlns:a16="http://schemas.microsoft.com/office/drawing/2014/main" id="{B9C7D945-2CF4-4CDA-B8C5-F0F8A37DDF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0" name="Straight Connector 879">
                <a:extLst>
                  <a:ext uri="{FF2B5EF4-FFF2-40B4-BE49-F238E27FC236}">
                    <a16:creationId xmlns:a16="http://schemas.microsoft.com/office/drawing/2014/main" id="{7FA2D360-8606-4DC7-AF46-8F070ED1EA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1" name="Straight Connector 880">
                <a:extLst>
                  <a:ext uri="{FF2B5EF4-FFF2-40B4-BE49-F238E27FC236}">
                    <a16:creationId xmlns:a16="http://schemas.microsoft.com/office/drawing/2014/main" id="{E32C78AD-1550-47CE-9B27-AC9B8776B3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2" name="Straight Connector 881">
                <a:extLst>
                  <a:ext uri="{FF2B5EF4-FFF2-40B4-BE49-F238E27FC236}">
                    <a16:creationId xmlns:a16="http://schemas.microsoft.com/office/drawing/2014/main" id="{3B30155E-8910-430D-BA67-0F58CE1226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83" name="Group 882">
                <a:extLst>
                  <a:ext uri="{FF2B5EF4-FFF2-40B4-BE49-F238E27FC236}">
                    <a16:creationId xmlns:a16="http://schemas.microsoft.com/office/drawing/2014/main" id="{5BAC4591-BCFB-4E0C-814A-E14813C859F6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906" name="Oval 905">
                  <a:extLst>
                    <a:ext uri="{FF2B5EF4-FFF2-40B4-BE49-F238E27FC236}">
                      <a16:creationId xmlns:a16="http://schemas.microsoft.com/office/drawing/2014/main" id="{9CFDC351-3CE4-4D54-B36C-34E19CC6150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7" name="Oval 906">
                  <a:extLst>
                    <a:ext uri="{FF2B5EF4-FFF2-40B4-BE49-F238E27FC236}">
                      <a16:creationId xmlns:a16="http://schemas.microsoft.com/office/drawing/2014/main" id="{0BD308C9-BB21-4307-B1AF-C4AB895BA27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8" name="Oval 907">
                  <a:extLst>
                    <a:ext uri="{FF2B5EF4-FFF2-40B4-BE49-F238E27FC236}">
                      <a16:creationId xmlns:a16="http://schemas.microsoft.com/office/drawing/2014/main" id="{D9286101-25AA-45FF-B3C2-3FD1438FAEC7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9" name="Oval 908">
                  <a:extLst>
                    <a:ext uri="{FF2B5EF4-FFF2-40B4-BE49-F238E27FC236}">
                      <a16:creationId xmlns:a16="http://schemas.microsoft.com/office/drawing/2014/main" id="{631D9B79-C5FC-4901-A98B-F2F43FDB5A7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EA27341E-31DA-4AEF-A389-01ABA7153D8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85" name="Straight Connector 884">
                <a:extLst>
                  <a:ext uri="{FF2B5EF4-FFF2-40B4-BE49-F238E27FC236}">
                    <a16:creationId xmlns:a16="http://schemas.microsoft.com/office/drawing/2014/main" id="{EA67B247-4327-467D-8ECD-87F9EF7AFF0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86" name="Straight Connector 885">
                <a:extLst>
                  <a:ext uri="{FF2B5EF4-FFF2-40B4-BE49-F238E27FC236}">
                    <a16:creationId xmlns:a16="http://schemas.microsoft.com/office/drawing/2014/main" id="{3A87098D-A0BC-4AAF-B0F5-6E1B717A11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87" name="Oval 886">
                <a:extLst>
                  <a:ext uri="{FF2B5EF4-FFF2-40B4-BE49-F238E27FC236}">
                    <a16:creationId xmlns:a16="http://schemas.microsoft.com/office/drawing/2014/main" id="{F692EAFC-FA21-4E52-8C3B-EDCEB5AC6B90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61A3521C-CED0-4EBB-A8C3-619CD00C5B82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89" name="Straight Connector 888">
                <a:extLst>
                  <a:ext uri="{FF2B5EF4-FFF2-40B4-BE49-F238E27FC236}">
                    <a16:creationId xmlns:a16="http://schemas.microsoft.com/office/drawing/2014/main" id="{7B966AEF-062D-401A-9F12-702D91D36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90" name="Straight Connector 889">
                <a:extLst>
                  <a:ext uri="{FF2B5EF4-FFF2-40B4-BE49-F238E27FC236}">
                    <a16:creationId xmlns:a16="http://schemas.microsoft.com/office/drawing/2014/main" id="{7F5B8DED-DC2A-40D8-9D20-DE0D5E717C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91" name="Group 890">
                <a:extLst>
                  <a:ext uri="{FF2B5EF4-FFF2-40B4-BE49-F238E27FC236}">
                    <a16:creationId xmlns:a16="http://schemas.microsoft.com/office/drawing/2014/main" id="{EB8AF824-E5F7-487C-AD57-31DAF178F10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902" name="Oval 901">
                  <a:extLst>
                    <a:ext uri="{FF2B5EF4-FFF2-40B4-BE49-F238E27FC236}">
                      <a16:creationId xmlns:a16="http://schemas.microsoft.com/office/drawing/2014/main" id="{86222CD9-C4F6-4720-B468-C207DA946B99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3" name="Oval 902">
                  <a:extLst>
                    <a:ext uri="{FF2B5EF4-FFF2-40B4-BE49-F238E27FC236}">
                      <a16:creationId xmlns:a16="http://schemas.microsoft.com/office/drawing/2014/main" id="{A3949AC2-F704-4A7A-86B4-94A5FFF38D26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4" name="Oval 903">
                  <a:extLst>
                    <a:ext uri="{FF2B5EF4-FFF2-40B4-BE49-F238E27FC236}">
                      <a16:creationId xmlns:a16="http://schemas.microsoft.com/office/drawing/2014/main" id="{47AD36DC-33CC-42E0-BC4C-31E528955316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905" name="Oval 904">
                  <a:extLst>
                    <a:ext uri="{FF2B5EF4-FFF2-40B4-BE49-F238E27FC236}">
                      <a16:creationId xmlns:a16="http://schemas.microsoft.com/office/drawing/2014/main" id="{F78CB799-534A-4F14-9321-95AE1F88C20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634658BB-E9BF-448D-8F9F-A9E280CCE35A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42290177-42E9-4281-8516-83D97B7E5883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004EE776-E28A-4687-BE62-8BE4E8CEDE4F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5" name="Oval 894">
                <a:extLst>
                  <a:ext uri="{FF2B5EF4-FFF2-40B4-BE49-F238E27FC236}">
                    <a16:creationId xmlns:a16="http://schemas.microsoft.com/office/drawing/2014/main" id="{CD7D8C29-FF07-4AE7-AA96-873E9B71690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7C301184-6E93-422F-986B-DCC53A1F839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C6B04982-1A51-46DD-AF28-5FC8B1C96655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43AC9585-68F3-4A59-A811-C871B9848FEB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99" name="Oval 898">
                <a:extLst>
                  <a:ext uri="{FF2B5EF4-FFF2-40B4-BE49-F238E27FC236}">
                    <a16:creationId xmlns:a16="http://schemas.microsoft.com/office/drawing/2014/main" id="{E1F1F4EC-0E73-45D5-92D9-0E5ED49880B5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1D2B2177-198E-4A08-9708-4FA3A1745C3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58AC7C8E-46BB-4ED8-960C-A44696ADB77E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F9848C83-CCEE-46B7-8C55-BDDCBEB39E2E}"/>
                </a:ext>
              </a:extLst>
            </p:cNvPr>
            <p:cNvGrpSpPr/>
            <p:nvPr/>
          </p:nvGrpSpPr>
          <p:grpSpPr>
            <a:xfrm>
              <a:off x="11030224" y="3429159"/>
              <a:ext cx="2609224" cy="643538"/>
              <a:chOff x="330424" y="3751799"/>
              <a:chExt cx="15193725" cy="3747377"/>
            </a:xfrm>
          </p:grpSpPr>
          <p:sp>
            <p:nvSpPr>
              <p:cNvPr id="784" name="Arrow: Pentagon 783">
                <a:extLst>
                  <a:ext uri="{FF2B5EF4-FFF2-40B4-BE49-F238E27FC236}">
                    <a16:creationId xmlns:a16="http://schemas.microsoft.com/office/drawing/2014/main" id="{0AD51EC6-3BAC-4C7B-9EEA-27D199DEA0AD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85" name="Straight Connector 784">
                <a:extLst>
                  <a:ext uri="{FF2B5EF4-FFF2-40B4-BE49-F238E27FC236}">
                    <a16:creationId xmlns:a16="http://schemas.microsoft.com/office/drawing/2014/main" id="{04408750-BA37-481D-B80F-4A9D520CAA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6" name="Straight Connector 785">
                <a:extLst>
                  <a:ext uri="{FF2B5EF4-FFF2-40B4-BE49-F238E27FC236}">
                    <a16:creationId xmlns:a16="http://schemas.microsoft.com/office/drawing/2014/main" id="{9C2D634B-BC13-428E-BBDD-DC9090BF0DF7}"/>
                  </a:ext>
                </a:extLst>
              </p:cNvPr>
              <p:cNvCxnSpPr>
                <a:cxnSpLocks/>
                <a:endCxn id="82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7" name="Straight Connector 786">
                <a:extLst>
                  <a:ext uri="{FF2B5EF4-FFF2-40B4-BE49-F238E27FC236}">
                    <a16:creationId xmlns:a16="http://schemas.microsoft.com/office/drawing/2014/main" id="{12AC5FC1-665F-4675-9928-88FA5FE2DE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8" name="Straight Connector 787">
                <a:extLst>
                  <a:ext uri="{FF2B5EF4-FFF2-40B4-BE49-F238E27FC236}">
                    <a16:creationId xmlns:a16="http://schemas.microsoft.com/office/drawing/2014/main" id="{0C47F0F2-4D25-4923-9558-DC4C198FCB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9" name="Straight Connector 788">
                <a:extLst>
                  <a:ext uri="{FF2B5EF4-FFF2-40B4-BE49-F238E27FC236}">
                    <a16:creationId xmlns:a16="http://schemas.microsoft.com/office/drawing/2014/main" id="{9641242F-83D1-49E1-94AE-B91EF50D53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90" name="Oval 789">
                <a:extLst>
                  <a:ext uri="{FF2B5EF4-FFF2-40B4-BE49-F238E27FC236}">
                    <a16:creationId xmlns:a16="http://schemas.microsoft.com/office/drawing/2014/main" id="{2376AB46-EEF1-491B-9AF5-D3263F64FB48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91" name="Oval 790">
                <a:extLst>
                  <a:ext uri="{FF2B5EF4-FFF2-40B4-BE49-F238E27FC236}">
                    <a16:creationId xmlns:a16="http://schemas.microsoft.com/office/drawing/2014/main" id="{FC433084-7451-467E-B345-D16E836D53B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92" name="Straight Connector 791">
                <a:extLst>
                  <a:ext uri="{FF2B5EF4-FFF2-40B4-BE49-F238E27FC236}">
                    <a16:creationId xmlns:a16="http://schemas.microsoft.com/office/drawing/2014/main" id="{26BEBC84-9796-47B7-AB67-B1E10A0980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3" name="Straight Connector 792">
                <a:extLst>
                  <a:ext uri="{FF2B5EF4-FFF2-40B4-BE49-F238E27FC236}">
                    <a16:creationId xmlns:a16="http://schemas.microsoft.com/office/drawing/2014/main" id="{23A10FC7-C42E-408D-A870-247C189F7D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4" name="Straight Connector 793">
                <a:extLst>
                  <a:ext uri="{FF2B5EF4-FFF2-40B4-BE49-F238E27FC236}">
                    <a16:creationId xmlns:a16="http://schemas.microsoft.com/office/drawing/2014/main" id="{2B583766-5EA8-4F33-BF18-3396854ED8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5" name="Straight Connector 794">
                <a:extLst>
                  <a:ext uri="{FF2B5EF4-FFF2-40B4-BE49-F238E27FC236}">
                    <a16:creationId xmlns:a16="http://schemas.microsoft.com/office/drawing/2014/main" id="{DFD7B501-302D-498E-9538-1C8A8AABF4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6" name="Straight Connector 795">
                <a:extLst>
                  <a:ext uri="{FF2B5EF4-FFF2-40B4-BE49-F238E27FC236}">
                    <a16:creationId xmlns:a16="http://schemas.microsoft.com/office/drawing/2014/main" id="{0C286FB7-49B4-421C-81F7-E4D988104D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7" name="Straight Connector 796">
                <a:extLst>
                  <a:ext uri="{FF2B5EF4-FFF2-40B4-BE49-F238E27FC236}">
                    <a16:creationId xmlns:a16="http://schemas.microsoft.com/office/drawing/2014/main" id="{C7C8CB63-A443-47AE-8845-FA62737C3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8" name="Straight Connector 797">
                <a:extLst>
                  <a:ext uri="{FF2B5EF4-FFF2-40B4-BE49-F238E27FC236}">
                    <a16:creationId xmlns:a16="http://schemas.microsoft.com/office/drawing/2014/main" id="{7FE51B19-511A-4284-932F-6B6E2605DC2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99" name="Group 798">
                <a:extLst>
                  <a:ext uri="{FF2B5EF4-FFF2-40B4-BE49-F238E27FC236}">
                    <a16:creationId xmlns:a16="http://schemas.microsoft.com/office/drawing/2014/main" id="{690C547E-799C-4B75-BA3C-66BB2AB614FD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822" name="Oval 821">
                  <a:extLst>
                    <a:ext uri="{FF2B5EF4-FFF2-40B4-BE49-F238E27FC236}">
                      <a16:creationId xmlns:a16="http://schemas.microsoft.com/office/drawing/2014/main" id="{00326997-10D5-4755-B966-4D2396E9C13A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3" name="Oval 822">
                  <a:extLst>
                    <a:ext uri="{FF2B5EF4-FFF2-40B4-BE49-F238E27FC236}">
                      <a16:creationId xmlns:a16="http://schemas.microsoft.com/office/drawing/2014/main" id="{A263C8B3-9994-4BB0-B9A5-F17760BA3C91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4" name="Oval 823">
                  <a:extLst>
                    <a:ext uri="{FF2B5EF4-FFF2-40B4-BE49-F238E27FC236}">
                      <a16:creationId xmlns:a16="http://schemas.microsoft.com/office/drawing/2014/main" id="{82E2ABEA-0761-4B71-B716-C432B6B01338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5" name="Oval 824">
                  <a:extLst>
                    <a:ext uri="{FF2B5EF4-FFF2-40B4-BE49-F238E27FC236}">
                      <a16:creationId xmlns:a16="http://schemas.microsoft.com/office/drawing/2014/main" id="{313DDE82-CFF5-42CE-AC3D-8D42A54AF67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0" name="Oval 799">
                <a:extLst>
                  <a:ext uri="{FF2B5EF4-FFF2-40B4-BE49-F238E27FC236}">
                    <a16:creationId xmlns:a16="http://schemas.microsoft.com/office/drawing/2014/main" id="{C62F930B-BD37-4006-9E98-425AA7847EF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801" name="Straight Connector 800">
                <a:extLst>
                  <a:ext uri="{FF2B5EF4-FFF2-40B4-BE49-F238E27FC236}">
                    <a16:creationId xmlns:a16="http://schemas.microsoft.com/office/drawing/2014/main" id="{3177147D-1A92-4D45-BC41-8BAF99CB1F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2" name="Straight Connector 801">
                <a:extLst>
                  <a:ext uri="{FF2B5EF4-FFF2-40B4-BE49-F238E27FC236}">
                    <a16:creationId xmlns:a16="http://schemas.microsoft.com/office/drawing/2014/main" id="{B56D1871-4AD4-4F7E-8F9B-7E5504E44D8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803" name="Oval 802">
                <a:extLst>
                  <a:ext uri="{FF2B5EF4-FFF2-40B4-BE49-F238E27FC236}">
                    <a16:creationId xmlns:a16="http://schemas.microsoft.com/office/drawing/2014/main" id="{D277C345-8704-4F31-9008-FEEB7440DD6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804" name="Oval 803">
                <a:extLst>
                  <a:ext uri="{FF2B5EF4-FFF2-40B4-BE49-F238E27FC236}">
                    <a16:creationId xmlns:a16="http://schemas.microsoft.com/office/drawing/2014/main" id="{B6BDBA1B-C0E5-4204-B1C0-F0C6F558A2C5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805" name="Straight Connector 804">
                <a:extLst>
                  <a:ext uri="{FF2B5EF4-FFF2-40B4-BE49-F238E27FC236}">
                    <a16:creationId xmlns:a16="http://schemas.microsoft.com/office/drawing/2014/main" id="{7B0C6FBF-D4BA-4B1D-91BA-9AA4507281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6" name="Straight Connector 805">
                <a:extLst>
                  <a:ext uri="{FF2B5EF4-FFF2-40B4-BE49-F238E27FC236}">
                    <a16:creationId xmlns:a16="http://schemas.microsoft.com/office/drawing/2014/main" id="{A0C07BDD-A509-483E-B26C-611A4A3C3DF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807" name="Group 806">
                <a:extLst>
                  <a:ext uri="{FF2B5EF4-FFF2-40B4-BE49-F238E27FC236}">
                    <a16:creationId xmlns:a16="http://schemas.microsoft.com/office/drawing/2014/main" id="{2941FA60-DAF3-421D-9D3E-3E332AD92119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818" name="Oval 817">
                  <a:extLst>
                    <a:ext uri="{FF2B5EF4-FFF2-40B4-BE49-F238E27FC236}">
                      <a16:creationId xmlns:a16="http://schemas.microsoft.com/office/drawing/2014/main" id="{3D47589C-BC18-447E-B94B-30F12457DFCF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19" name="Oval 818">
                  <a:extLst>
                    <a:ext uri="{FF2B5EF4-FFF2-40B4-BE49-F238E27FC236}">
                      <a16:creationId xmlns:a16="http://schemas.microsoft.com/office/drawing/2014/main" id="{A7834024-9CC0-4DA8-B73F-239A3D038EBA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0" name="Oval 819">
                  <a:extLst>
                    <a:ext uri="{FF2B5EF4-FFF2-40B4-BE49-F238E27FC236}">
                      <a16:creationId xmlns:a16="http://schemas.microsoft.com/office/drawing/2014/main" id="{60A29ED5-FEDF-44A5-8D96-8133BE3C036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821" name="Oval 820">
                  <a:extLst>
                    <a:ext uri="{FF2B5EF4-FFF2-40B4-BE49-F238E27FC236}">
                      <a16:creationId xmlns:a16="http://schemas.microsoft.com/office/drawing/2014/main" id="{3AE7B335-C84F-4575-AE75-8B7585552EC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808" name="Oval 807">
                <a:extLst>
                  <a:ext uri="{FF2B5EF4-FFF2-40B4-BE49-F238E27FC236}">
                    <a16:creationId xmlns:a16="http://schemas.microsoft.com/office/drawing/2014/main" id="{0C00A7D4-835F-44E2-9E21-AB517BCBE7A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CF22A108-C5C4-41AE-AB62-8B68C56A0315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0" name="Oval 809">
                <a:extLst>
                  <a:ext uri="{FF2B5EF4-FFF2-40B4-BE49-F238E27FC236}">
                    <a16:creationId xmlns:a16="http://schemas.microsoft.com/office/drawing/2014/main" id="{D8C41578-036C-42B9-BEB5-5E75D84B92F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1" name="Oval 810">
                <a:extLst>
                  <a:ext uri="{FF2B5EF4-FFF2-40B4-BE49-F238E27FC236}">
                    <a16:creationId xmlns:a16="http://schemas.microsoft.com/office/drawing/2014/main" id="{ED407F25-8CB6-4EDB-A595-40D3F12D077D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2" name="Oval 811">
                <a:extLst>
                  <a:ext uri="{FF2B5EF4-FFF2-40B4-BE49-F238E27FC236}">
                    <a16:creationId xmlns:a16="http://schemas.microsoft.com/office/drawing/2014/main" id="{498ABD58-F06E-4B94-B9F4-5BECDB694D5B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3" name="Oval 812">
                <a:extLst>
                  <a:ext uri="{FF2B5EF4-FFF2-40B4-BE49-F238E27FC236}">
                    <a16:creationId xmlns:a16="http://schemas.microsoft.com/office/drawing/2014/main" id="{2A5ECB47-7295-4922-B7A4-DE5C21E753E7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4" name="Oval 813">
                <a:extLst>
                  <a:ext uri="{FF2B5EF4-FFF2-40B4-BE49-F238E27FC236}">
                    <a16:creationId xmlns:a16="http://schemas.microsoft.com/office/drawing/2014/main" id="{96C5DCE1-56CC-4406-926A-925A3CE2D143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5" name="Oval 814">
                <a:extLst>
                  <a:ext uri="{FF2B5EF4-FFF2-40B4-BE49-F238E27FC236}">
                    <a16:creationId xmlns:a16="http://schemas.microsoft.com/office/drawing/2014/main" id="{D5224315-9247-4E9B-AFB5-9BDAB302860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D95BD531-A95C-48CB-A040-5BFF3DAF0945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4A546BC6-BC33-4D35-9FA6-D2508A5F1CA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6" name="Group 525">
              <a:extLst>
                <a:ext uri="{FF2B5EF4-FFF2-40B4-BE49-F238E27FC236}">
                  <a16:creationId xmlns:a16="http://schemas.microsoft.com/office/drawing/2014/main" id="{5B3F325B-D188-40CA-BD22-FEE074546883}"/>
                </a:ext>
              </a:extLst>
            </p:cNvPr>
            <p:cNvGrpSpPr/>
            <p:nvPr/>
          </p:nvGrpSpPr>
          <p:grpSpPr>
            <a:xfrm>
              <a:off x="5752331" y="6287627"/>
              <a:ext cx="2609224" cy="643538"/>
              <a:chOff x="330424" y="3751799"/>
              <a:chExt cx="15193725" cy="3747377"/>
            </a:xfrm>
          </p:grpSpPr>
          <p:sp>
            <p:nvSpPr>
              <p:cNvPr id="742" name="Arrow: Pentagon 741">
                <a:extLst>
                  <a:ext uri="{FF2B5EF4-FFF2-40B4-BE49-F238E27FC236}">
                    <a16:creationId xmlns:a16="http://schemas.microsoft.com/office/drawing/2014/main" id="{3B7B859B-C63A-4032-A178-5CFB8845C6D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43" name="Straight Connector 742">
                <a:extLst>
                  <a:ext uri="{FF2B5EF4-FFF2-40B4-BE49-F238E27FC236}">
                    <a16:creationId xmlns:a16="http://schemas.microsoft.com/office/drawing/2014/main" id="{A58BB82A-F0E5-49C1-8C10-1339FE8230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4" name="Straight Connector 743">
                <a:extLst>
                  <a:ext uri="{FF2B5EF4-FFF2-40B4-BE49-F238E27FC236}">
                    <a16:creationId xmlns:a16="http://schemas.microsoft.com/office/drawing/2014/main" id="{9718B50B-185B-4279-82A6-3E0315409A1B}"/>
                  </a:ext>
                </a:extLst>
              </p:cNvPr>
              <p:cNvCxnSpPr>
                <a:cxnSpLocks/>
                <a:endCxn id="78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5" name="Straight Connector 744">
                <a:extLst>
                  <a:ext uri="{FF2B5EF4-FFF2-40B4-BE49-F238E27FC236}">
                    <a16:creationId xmlns:a16="http://schemas.microsoft.com/office/drawing/2014/main" id="{1261DFA6-B203-4ABE-9FCB-85A87C6686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6" name="Straight Connector 745">
                <a:extLst>
                  <a:ext uri="{FF2B5EF4-FFF2-40B4-BE49-F238E27FC236}">
                    <a16:creationId xmlns:a16="http://schemas.microsoft.com/office/drawing/2014/main" id="{F1D2B093-0767-4D3F-9846-088235520E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7" name="Straight Connector 746">
                <a:extLst>
                  <a:ext uri="{FF2B5EF4-FFF2-40B4-BE49-F238E27FC236}">
                    <a16:creationId xmlns:a16="http://schemas.microsoft.com/office/drawing/2014/main" id="{2F62253C-5EAC-4942-ACC0-844B97CA3CA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6D9041F9-0A68-4A1A-96C7-8889616A728B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60DAB9A8-BDBC-4A96-9500-E36402A191F3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50" name="Straight Connector 749">
                <a:extLst>
                  <a:ext uri="{FF2B5EF4-FFF2-40B4-BE49-F238E27FC236}">
                    <a16:creationId xmlns:a16="http://schemas.microsoft.com/office/drawing/2014/main" id="{133AEAB9-DC9E-4D96-B77B-F87E9A700C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1" name="Straight Connector 750">
                <a:extLst>
                  <a:ext uri="{FF2B5EF4-FFF2-40B4-BE49-F238E27FC236}">
                    <a16:creationId xmlns:a16="http://schemas.microsoft.com/office/drawing/2014/main" id="{6EF305B6-A6BC-4870-9E64-2A80A79B78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2" name="Straight Connector 751">
                <a:extLst>
                  <a:ext uri="{FF2B5EF4-FFF2-40B4-BE49-F238E27FC236}">
                    <a16:creationId xmlns:a16="http://schemas.microsoft.com/office/drawing/2014/main" id="{D3A0A6D5-11FE-40E2-BE27-622B46B60E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3" name="Straight Connector 752">
                <a:extLst>
                  <a:ext uri="{FF2B5EF4-FFF2-40B4-BE49-F238E27FC236}">
                    <a16:creationId xmlns:a16="http://schemas.microsoft.com/office/drawing/2014/main" id="{B5EC1B65-3D80-4805-972A-628D6E7964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4" name="Straight Connector 753">
                <a:extLst>
                  <a:ext uri="{FF2B5EF4-FFF2-40B4-BE49-F238E27FC236}">
                    <a16:creationId xmlns:a16="http://schemas.microsoft.com/office/drawing/2014/main" id="{34C12D0B-7B53-4D99-8D5C-E57891853D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5" name="Straight Connector 754">
                <a:extLst>
                  <a:ext uri="{FF2B5EF4-FFF2-40B4-BE49-F238E27FC236}">
                    <a16:creationId xmlns:a16="http://schemas.microsoft.com/office/drawing/2014/main" id="{253A1097-41F1-4971-92FE-D91706A19A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6" name="Straight Connector 755">
                <a:extLst>
                  <a:ext uri="{FF2B5EF4-FFF2-40B4-BE49-F238E27FC236}">
                    <a16:creationId xmlns:a16="http://schemas.microsoft.com/office/drawing/2014/main" id="{5576C8C2-27CB-4E72-B8D2-992615BFF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57" name="Group 756">
                <a:extLst>
                  <a:ext uri="{FF2B5EF4-FFF2-40B4-BE49-F238E27FC236}">
                    <a16:creationId xmlns:a16="http://schemas.microsoft.com/office/drawing/2014/main" id="{DB43B953-2851-428E-93A4-C9B56E62361B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780" name="Oval 779">
                  <a:extLst>
                    <a:ext uri="{FF2B5EF4-FFF2-40B4-BE49-F238E27FC236}">
                      <a16:creationId xmlns:a16="http://schemas.microsoft.com/office/drawing/2014/main" id="{6F7172EF-6828-4C6D-B34B-AC64A49A0E8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1" name="Oval 780">
                  <a:extLst>
                    <a:ext uri="{FF2B5EF4-FFF2-40B4-BE49-F238E27FC236}">
                      <a16:creationId xmlns:a16="http://schemas.microsoft.com/office/drawing/2014/main" id="{E09F048F-AAAC-4465-AABD-4F2A030D2800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2" name="Oval 781">
                  <a:extLst>
                    <a:ext uri="{FF2B5EF4-FFF2-40B4-BE49-F238E27FC236}">
                      <a16:creationId xmlns:a16="http://schemas.microsoft.com/office/drawing/2014/main" id="{20FBD098-52FD-47A1-93F5-6EAC08AF35E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83" name="Oval 782">
                  <a:extLst>
                    <a:ext uri="{FF2B5EF4-FFF2-40B4-BE49-F238E27FC236}">
                      <a16:creationId xmlns:a16="http://schemas.microsoft.com/office/drawing/2014/main" id="{49283FA7-51C0-4E8B-8BFF-290698A2A2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8C4A2FAE-C04B-4460-9FCD-7BB26083379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759" name="Straight Connector 758">
                <a:extLst>
                  <a:ext uri="{FF2B5EF4-FFF2-40B4-BE49-F238E27FC236}">
                    <a16:creationId xmlns:a16="http://schemas.microsoft.com/office/drawing/2014/main" id="{074797DF-D07C-4CFF-A645-6F27208438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0" name="Straight Connector 759">
                <a:extLst>
                  <a:ext uri="{FF2B5EF4-FFF2-40B4-BE49-F238E27FC236}">
                    <a16:creationId xmlns:a16="http://schemas.microsoft.com/office/drawing/2014/main" id="{BB3B6828-E0FF-4335-83D2-9E92FD962A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5DFE3A97-2C8B-4921-8703-8052F3625759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A398F022-A1B3-4D47-A03C-29D2CE9A6837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763" name="Straight Connector 762">
                <a:extLst>
                  <a:ext uri="{FF2B5EF4-FFF2-40B4-BE49-F238E27FC236}">
                    <a16:creationId xmlns:a16="http://schemas.microsoft.com/office/drawing/2014/main" id="{F5336D7F-360F-4B45-B9A4-FD2CBB1D0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4" name="Straight Connector 763">
                <a:extLst>
                  <a:ext uri="{FF2B5EF4-FFF2-40B4-BE49-F238E27FC236}">
                    <a16:creationId xmlns:a16="http://schemas.microsoft.com/office/drawing/2014/main" id="{ED3908CE-24B5-470B-A28C-9E5838854C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047FD26B-B66A-4CE1-ADAB-3A0739806D20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776" name="Oval 775">
                  <a:extLst>
                    <a:ext uri="{FF2B5EF4-FFF2-40B4-BE49-F238E27FC236}">
                      <a16:creationId xmlns:a16="http://schemas.microsoft.com/office/drawing/2014/main" id="{4C9543F3-C863-42AE-9918-DC7DF73ED63C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7" name="Oval 776">
                  <a:extLst>
                    <a:ext uri="{FF2B5EF4-FFF2-40B4-BE49-F238E27FC236}">
                      <a16:creationId xmlns:a16="http://schemas.microsoft.com/office/drawing/2014/main" id="{7D17FE72-9EE4-469C-B454-73FB7C8355A3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8" name="Oval 777">
                  <a:extLst>
                    <a:ext uri="{FF2B5EF4-FFF2-40B4-BE49-F238E27FC236}">
                      <a16:creationId xmlns:a16="http://schemas.microsoft.com/office/drawing/2014/main" id="{651C1CEA-C76B-49D8-A69E-2481495AB14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79" name="Oval 778">
                  <a:extLst>
                    <a:ext uri="{FF2B5EF4-FFF2-40B4-BE49-F238E27FC236}">
                      <a16:creationId xmlns:a16="http://schemas.microsoft.com/office/drawing/2014/main" id="{6C6FF5A0-B1CA-4741-B639-62C47F650CAA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6E2481FF-2BCA-47E7-A225-4A63B650695B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0B9EC9D5-AE57-4326-9F5C-6EE8E9DCA202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FA6A5DB2-743D-4531-A807-AA90B5A58450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B547DC9C-563B-4279-8A43-9E08F9B4E83B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D317774D-9601-4DC5-94D1-25327E7859C1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B13C9CB1-D326-4820-999D-3506BEA2B946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B36588BA-09DE-4DD2-BD59-F9FFB52E36D8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6AC16526-6E22-4B9A-B7D6-9CCC3E23949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65B97AFD-5D34-4FC7-8792-367961B6B75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75" name="Oval 774">
                <a:extLst>
                  <a:ext uri="{FF2B5EF4-FFF2-40B4-BE49-F238E27FC236}">
                    <a16:creationId xmlns:a16="http://schemas.microsoft.com/office/drawing/2014/main" id="{4A18FEF9-DB9C-41D8-897D-5FFAD7484685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8" name="Group 527">
              <a:extLst>
                <a:ext uri="{FF2B5EF4-FFF2-40B4-BE49-F238E27FC236}">
                  <a16:creationId xmlns:a16="http://schemas.microsoft.com/office/drawing/2014/main" id="{DE4F85B5-8D7E-4AE3-8131-6D9F0173065E}"/>
                </a:ext>
              </a:extLst>
            </p:cNvPr>
            <p:cNvGrpSpPr/>
            <p:nvPr/>
          </p:nvGrpSpPr>
          <p:grpSpPr>
            <a:xfrm>
              <a:off x="12068686" y="6196200"/>
              <a:ext cx="2609224" cy="643538"/>
              <a:chOff x="330424" y="3751799"/>
              <a:chExt cx="15193725" cy="3747377"/>
            </a:xfrm>
          </p:grpSpPr>
          <p:sp>
            <p:nvSpPr>
              <p:cNvPr id="658" name="Arrow: Pentagon 657">
                <a:extLst>
                  <a:ext uri="{FF2B5EF4-FFF2-40B4-BE49-F238E27FC236}">
                    <a16:creationId xmlns:a16="http://schemas.microsoft.com/office/drawing/2014/main" id="{7FD99CB4-5FC5-48DE-9368-E2A905A961D9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59" name="Straight Connector 658">
                <a:extLst>
                  <a:ext uri="{FF2B5EF4-FFF2-40B4-BE49-F238E27FC236}">
                    <a16:creationId xmlns:a16="http://schemas.microsoft.com/office/drawing/2014/main" id="{5DA1C7D1-FB23-4273-B7D0-408F141C08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791280A7-598B-485A-BFA4-F80BAA735A85}"/>
                  </a:ext>
                </a:extLst>
              </p:cNvPr>
              <p:cNvCxnSpPr>
                <a:cxnSpLocks/>
                <a:endCxn id="69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21FA7DFD-724A-4E5E-928A-3882DDDB93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2" name="Straight Connector 661">
                <a:extLst>
                  <a:ext uri="{FF2B5EF4-FFF2-40B4-BE49-F238E27FC236}">
                    <a16:creationId xmlns:a16="http://schemas.microsoft.com/office/drawing/2014/main" id="{9DCAE51C-C314-4DFA-B66E-9ABF81A88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FA86769F-0B19-49F9-9E08-FB91B877E4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4" name="Oval 663">
                <a:extLst>
                  <a:ext uri="{FF2B5EF4-FFF2-40B4-BE49-F238E27FC236}">
                    <a16:creationId xmlns:a16="http://schemas.microsoft.com/office/drawing/2014/main" id="{50CBCBE2-16D6-4756-AE18-82E824438680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65" name="Oval 664">
                <a:extLst>
                  <a:ext uri="{FF2B5EF4-FFF2-40B4-BE49-F238E27FC236}">
                    <a16:creationId xmlns:a16="http://schemas.microsoft.com/office/drawing/2014/main" id="{8124B106-8A81-4B80-9FD7-B88C9FE3E421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66" name="Straight Connector 665">
                <a:extLst>
                  <a:ext uri="{FF2B5EF4-FFF2-40B4-BE49-F238E27FC236}">
                    <a16:creationId xmlns:a16="http://schemas.microsoft.com/office/drawing/2014/main" id="{6F865777-C4C5-4F67-A35C-A8A180FA57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7" name="Straight Connector 666">
                <a:extLst>
                  <a:ext uri="{FF2B5EF4-FFF2-40B4-BE49-F238E27FC236}">
                    <a16:creationId xmlns:a16="http://schemas.microsoft.com/office/drawing/2014/main" id="{B9CB82C6-6152-476C-B832-B379E58527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8" name="Straight Connector 667">
                <a:extLst>
                  <a:ext uri="{FF2B5EF4-FFF2-40B4-BE49-F238E27FC236}">
                    <a16:creationId xmlns:a16="http://schemas.microsoft.com/office/drawing/2014/main" id="{0B69AC65-8EF1-4E6C-BEDF-60DDEE92FE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69" name="Straight Connector 668">
                <a:extLst>
                  <a:ext uri="{FF2B5EF4-FFF2-40B4-BE49-F238E27FC236}">
                    <a16:creationId xmlns:a16="http://schemas.microsoft.com/office/drawing/2014/main" id="{7F219D09-6586-4123-9329-72831FFC27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0" name="Straight Connector 669">
                <a:extLst>
                  <a:ext uri="{FF2B5EF4-FFF2-40B4-BE49-F238E27FC236}">
                    <a16:creationId xmlns:a16="http://schemas.microsoft.com/office/drawing/2014/main" id="{1D1B0887-23E5-409E-8553-D218B15647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1" name="Straight Connector 670">
                <a:extLst>
                  <a:ext uri="{FF2B5EF4-FFF2-40B4-BE49-F238E27FC236}">
                    <a16:creationId xmlns:a16="http://schemas.microsoft.com/office/drawing/2014/main" id="{C4010D17-46BB-45F5-B9A1-8C83C901ED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8DA4977D-B284-4E20-A1A9-0E6E4AB3BA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73" name="Group 672">
                <a:extLst>
                  <a:ext uri="{FF2B5EF4-FFF2-40B4-BE49-F238E27FC236}">
                    <a16:creationId xmlns:a16="http://schemas.microsoft.com/office/drawing/2014/main" id="{C52071CE-9638-4254-99A7-50C6AB6D243E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96" name="Oval 695">
                  <a:extLst>
                    <a:ext uri="{FF2B5EF4-FFF2-40B4-BE49-F238E27FC236}">
                      <a16:creationId xmlns:a16="http://schemas.microsoft.com/office/drawing/2014/main" id="{B9E39395-035C-4F81-A6C8-49DFD5F7B83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7" name="Oval 696">
                  <a:extLst>
                    <a:ext uri="{FF2B5EF4-FFF2-40B4-BE49-F238E27FC236}">
                      <a16:creationId xmlns:a16="http://schemas.microsoft.com/office/drawing/2014/main" id="{FFDB2ABF-C854-4DCE-B462-D3E7782B7D0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8" name="Oval 697">
                  <a:extLst>
                    <a:ext uri="{FF2B5EF4-FFF2-40B4-BE49-F238E27FC236}">
                      <a16:creationId xmlns:a16="http://schemas.microsoft.com/office/drawing/2014/main" id="{F6398A16-2B54-4B3B-820D-258F7C297483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9" name="Oval 698">
                  <a:extLst>
                    <a:ext uri="{FF2B5EF4-FFF2-40B4-BE49-F238E27FC236}">
                      <a16:creationId xmlns:a16="http://schemas.microsoft.com/office/drawing/2014/main" id="{497C5A6B-E41D-4A2C-B31F-E840941881AA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74" name="Oval 673">
                <a:extLst>
                  <a:ext uri="{FF2B5EF4-FFF2-40B4-BE49-F238E27FC236}">
                    <a16:creationId xmlns:a16="http://schemas.microsoft.com/office/drawing/2014/main" id="{F8E95F99-F81A-4CCD-8F17-50579C9AB84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C01AFF28-8216-4B88-B52F-FE49B0E8C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C51B9A7A-29B6-4D86-89D8-8D3B7AF8F49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77" name="Oval 676">
                <a:extLst>
                  <a:ext uri="{FF2B5EF4-FFF2-40B4-BE49-F238E27FC236}">
                    <a16:creationId xmlns:a16="http://schemas.microsoft.com/office/drawing/2014/main" id="{D8B738FA-4154-4EA9-8EB9-549E56C674A3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78" name="Oval 677">
                <a:extLst>
                  <a:ext uri="{FF2B5EF4-FFF2-40B4-BE49-F238E27FC236}">
                    <a16:creationId xmlns:a16="http://schemas.microsoft.com/office/drawing/2014/main" id="{4DC242E2-B38E-435E-8352-01042872188F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79" name="Straight Connector 678">
                <a:extLst>
                  <a:ext uri="{FF2B5EF4-FFF2-40B4-BE49-F238E27FC236}">
                    <a16:creationId xmlns:a16="http://schemas.microsoft.com/office/drawing/2014/main" id="{329B81D3-FB44-4202-80A7-6868A9A761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80" name="Straight Connector 679">
                <a:extLst>
                  <a:ext uri="{FF2B5EF4-FFF2-40B4-BE49-F238E27FC236}">
                    <a16:creationId xmlns:a16="http://schemas.microsoft.com/office/drawing/2014/main" id="{3DC6C95A-C170-487D-8A28-632554D9BD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960B3980-D869-4671-BD8C-CC94B3342FBF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92" name="Oval 691">
                  <a:extLst>
                    <a:ext uri="{FF2B5EF4-FFF2-40B4-BE49-F238E27FC236}">
                      <a16:creationId xmlns:a16="http://schemas.microsoft.com/office/drawing/2014/main" id="{9EA67D3A-5CBB-4DED-81C4-7F4F0701A88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3" name="Oval 692">
                  <a:extLst>
                    <a:ext uri="{FF2B5EF4-FFF2-40B4-BE49-F238E27FC236}">
                      <a16:creationId xmlns:a16="http://schemas.microsoft.com/office/drawing/2014/main" id="{832A02D9-9E55-47DA-AB76-A0FD3FAA5E1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4" name="Oval 693">
                  <a:extLst>
                    <a:ext uri="{FF2B5EF4-FFF2-40B4-BE49-F238E27FC236}">
                      <a16:creationId xmlns:a16="http://schemas.microsoft.com/office/drawing/2014/main" id="{08E7C14C-5E03-47E2-A48F-D0712F4BBAA1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95" name="Oval 694">
                  <a:extLst>
                    <a:ext uri="{FF2B5EF4-FFF2-40B4-BE49-F238E27FC236}">
                      <a16:creationId xmlns:a16="http://schemas.microsoft.com/office/drawing/2014/main" id="{69EF9915-8738-4DAA-9F16-E129F8D69B9C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82" name="Oval 681">
                <a:extLst>
                  <a:ext uri="{FF2B5EF4-FFF2-40B4-BE49-F238E27FC236}">
                    <a16:creationId xmlns:a16="http://schemas.microsoft.com/office/drawing/2014/main" id="{B3C56974-C24C-4D3E-8F22-DD88B0A52B51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3" name="Oval 682">
                <a:extLst>
                  <a:ext uri="{FF2B5EF4-FFF2-40B4-BE49-F238E27FC236}">
                    <a16:creationId xmlns:a16="http://schemas.microsoft.com/office/drawing/2014/main" id="{C0B427FD-0A3F-4A84-BF0F-D464A7EBCE7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4" name="Oval 683">
                <a:extLst>
                  <a:ext uri="{FF2B5EF4-FFF2-40B4-BE49-F238E27FC236}">
                    <a16:creationId xmlns:a16="http://schemas.microsoft.com/office/drawing/2014/main" id="{C33E21FA-6C92-45FB-A7E1-09FC55D7CCA1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5" name="Oval 684">
                <a:extLst>
                  <a:ext uri="{FF2B5EF4-FFF2-40B4-BE49-F238E27FC236}">
                    <a16:creationId xmlns:a16="http://schemas.microsoft.com/office/drawing/2014/main" id="{34CD798B-74A7-4AAC-89EB-2830C6CDDA93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6" name="Oval 685">
                <a:extLst>
                  <a:ext uri="{FF2B5EF4-FFF2-40B4-BE49-F238E27FC236}">
                    <a16:creationId xmlns:a16="http://schemas.microsoft.com/office/drawing/2014/main" id="{9D7B21A1-1B99-40BE-A264-064F871E7C8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7" name="Oval 686">
                <a:extLst>
                  <a:ext uri="{FF2B5EF4-FFF2-40B4-BE49-F238E27FC236}">
                    <a16:creationId xmlns:a16="http://schemas.microsoft.com/office/drawing/2014/main" id="{30548C90-A6D1-4AD5-BCFE-99A23742F724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8" name="Oval 687">
                <a:extLst>
                  <a:ext uri="{FF2B5EF4-FFF2-40B4-BE49-F238E27FC236}">
                    <a16:creationId xmlns:a16="http://schemas.microsoft.com/office/drawing/2014/main" id="{3EEEA5A5-E470-424D-8A74-9B29BE67265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9" name="Oval 688">
                <a:extLst>
                  <a:ext uri="{FF2B5EF4-FFF2-40B4-BE49-F238E27FC236}">
                    <a16:creationId xmlns:a16="http://schemas.microsoft.com/office/drawing/2014/main" id="{A36E4257-4236-4C3B-BD24-0D11A6E04D90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0" name="Oval 689">
                <a:extLst>
                  <a:ext uri="{FF2B5EF4-FFF2-40B4-BE49-F238E27FC236}">
                    <a16:creationId xmlns:a16="http://schemas.microsoft.com/office/drawing/2014/main" id="{4A49024E-19E7-48B5-A316-CAA8D53B999D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1" name="Oval 690">
                <a:extLst>
                  <a:ext uri="{FF2B5EF4-FFF2-40B4-BE49-F238E27FC236}">
                    <a16:creationId xmlns:a16="http://schemas.microsoft.com/office/drawing/2014/main" id="{28A84423-B972-4E53-8C53-5F3AB77CDF6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29" name="Group 528">
              <a:extLst>
                <a:ext uri="{FF2B5EF4-FFF2-40B4-BE49-F238E27FC236}">
                  <a16:creationId xmlns:a16="http://schemas.microsoft.com/office/drawing/2014/main" id="{A0BC5850-0B4E-49A2-8A6E-0BD9884B2F60}"/>
                </a:ext>
              </a:extLst>
            </p:cNvPr>
            <p:cNvGrpSpPr/>
            <p:nvPr/>
          </p:nvGrpSpPr>
          <p:grpSpPr>
            <a:xfrm>
              <a:off x="9148657" y="6308525"/>
              <a:ext cx="2609224" cy="643538"/>
              <a:chOff x="330424" y="3751799"/>
              <a:chExt cx="15193725" cy="3747377"/>
            </a:xfrm>
          </p:grpSpPr>
          <p:sp>
            <p:nvSpPr>
              <p:cNvPr id="616" name="Arrow: Pentagon 615">
                <a:extLst>
                  <a:ext uri="{FF2B5EF4-FFF2-40B4-BE49-F238E27FC236}">
                    <a16:creationId xmlns:a16="http://schemas.microsoft.com/office/drawing/2014/main" id="{0E4BF522-DD6B-42C6-9428-56772815608A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617" name="Straight Connector 616">
                <a:extLst>
                  <a:ext uri="{FF2B5EF4-FFF2-40B4-BE49-F238E27FC236}">
                    <a16:creationId xmlns:a16="http://schemas.microsoft.com/office/drawing/2014/main" id="{ECA86436-61D3-46CC-8E1F-CC76D02B72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5B452C2B-E595-4889-B24E-EB4413B077D5}"/>
                  </a:ext>
                </a:extLst>
              </p:cNvPr>
              <p:cNvCxnSpPr>
                <a:cxnSpLocks/>
                <a:endCxn id="654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994E82CD-8D8E-40D4-BC37-750DEBED39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0" name="Straight Connector 619">
                <a:extLst>
                  <a:ext uri="{FF2B5EF4-FFF2-40B4-BE49-F238E27FC236}">
                    <a16:creationId xmlns:a16="http://schemas.microsoft.com/office/drawing/2014/main" id="{E43ABBA3-C66F-439F-BC54-CEE29D51D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1A3FD6CE-6044-48B2-975B-316B8EA724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22" name="Oval 621">
                <a:extLst>
                  <a:ext uri="{FF2B5EF4-FFF2-40B4-BE49-F238E27FC236}">
                    <a16:creationId xmlns:a16="http://schemas.microsoft.com/office/drawing/2014/main" id="{63AC02A8-CCB0-420F-812C-920297995333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23" name="Oval 622">
                <a:extLst>
                  <a:ext uri="{FF2B5EF4-FFF2-40B4-BE49-F238E27FC236}">
                    <a16:creationId xmlns:a16="http://schemas.microsoft.com/office/drawing/2014/main" id="{0B12D8C6-3DB5-4AF1-B24D-004C9072EB7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E0ED83BC-2CE0-452C-B4E7-AE069A5C06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D506C2A8-E017-4172-823B-E59ED2714E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6" name="Straight Connector 625">
                <a:extLst>
                  <a:ext uri="{FF2B5EF4-FFF2-40B4-BE49-F238E27FC236}">
                    <a16:creationId xmlns:a16="http://schemas.microsoft.com/office/drawing/2014/main" id="{2089A159-A66B-4AE9-BBBE-765ED173AE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5D1CE8A1-156A-4115-872C-A73DB864C5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5989F0C6-339E-4301-A6D7-FE1B457353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9" name="Straight Connector 628">
                <a:extLst>
                  <a:ext uri="{FF2B5EF4-FFF2-40B4-BE49-F238E27FC236}">
                    <a16:creationId xmlns:a16="http://schemas.microsoft.com/office/drawing/2014/main" id="{361C9601-EEE5-4B32-9F51-E071367605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85311114-30B0-456D-BAAB-5673A56C78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1" name="Group 630">
                <a:extLst>
                  <a:ext uri="{FF2B5EF4-FFF2-40B4-BE49-F238E27FC236}">
                    <a16:creationId xmlns:a16="http://schemas.microsoft.com/office/drawing/2014/main" id="{014E4E08-B2F4-4818-87E7-95E80703A5B5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54" name="Oval 653">
                  <a:extLst>
                    <a:ext uri="{FF2B5EF4-FFF2-40B4-BE49-F238E27FC236}">
                      <a16:creationId xmlns:a16="http://schemas.microsoft.com/office/drawing/2014/main" id="{1A0D5E7F-3BDE-45FF-84C9-41ABB8095157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5" name="Oval 654">
                  <a:extLst>
                    <a:ext uri="{FF2B5EF4-FFF2-40B4-BE49-F238E27FC236}">
                      <a16:creationId xmlns:a16="http://schemas.microsoft.com/office/drawing/2014/main" id="{3B790BD4-BAE2-443C-B0D4-2D64653038C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6" name="Oval 655">
                  <a:extLst>
                    <a:ext uri="{FF2B5EF4-FFF2-40B4-BE49-F238E27FC236}">
                      <a16:creationId xmlns:a16="http://schemas.microsoft.com/office/drawing/2014/main" id="{3DEB3B70-4D41-4B60-8953-FCD411B81D85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7" name="Oval 656">
                  <a:extLst>
                    <a:ext uri="{FF2B5EF4-FFF2-40B4-BE49-F238E27FC236}">
                      <a16:creationId xmlns:a16="http://schemas.microsoft.com/office/drawing/2014/main" id="{D990B09F-D9E2-4033-BA19-FA0C4831761D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32" name="Oval 631">
                <a:extLst>
                  <a:ext uri="{FF2B5EF4-FFF2-40B4-BE49-F238E27FC236}">
                    <a16:creationId xmlns:a16="http://schemas.microsoft.com/office/drawing/2014/main" id="{D77943FA-1D84-460A-8A77-35857BE6DE6B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9D8BE631-D67D-41BA-A520-CA8013FC70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97728FFA-6B8C-4232-9FAC-5E0D204208A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35" name="Oval 634">
                <a:extLst>
                  <a:ext uri="{FF2B5EF4-FFF2-40B4-BE49-F238E27FC236}">
                    <a16:creationId xmlns:a16="http://schemas.microsoft.com/office/drawing/2014/main" id="{0C35224C-8312-4510-A918-56029E6D2676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855D1768-3881-4886-A471-A32E9EA0F710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CC3A3D21-D8D7-4A4F-8BF7-5953EBAC36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8" name="Straight Connector 637">
                <a:extLst>
                  <a:ext uri="{FF2B5EF4-FFF2-40B4-BE49-F238E27FC236}">
                    <a16:creationId xmlns:a16="http://schemas.microsoft.com/office/drawing/2014/main" id="{757412B1-10F8-4726-A1A8-5DD2664BE9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639" name="Group 638">
                <a:extLst>
                  <a:ext uri="{FF2B5EF4-FFF2-40B4-BE49-F238E27FC236}">
                    <a16:creationId xmlns:a16="http://schemas.microsoft.com/office/drawing/2014/main" id="{D7A949A6-CCBA-4190-A430-FBA52B8906F6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50" name="Oval 649">
                  <a:extLst>
                    <a:ext uri="{FF2B5EF4-FFF2-40B4-BE49-F238E27FC236}">
                      <a16:creationId xmlns:a16="http://schemas.microsoft.com/office/drawing/2014/main" id="{8863B595-3BBE-4CCB-B3ED-804AF3B20C7B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1" name="Oval 650">
                  <a:extLst>
                    <a:ext uri="{FF2B5EF4-FFF2-40B4-BE49-F238E27FC236}">
                      <a16:creationId xmlns:a16="http://schemas.microsoft.com/office/drawing/2014/main" id="{4A604FCD-25AC-44DB-82BF-A0CDCE6B3605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2" name="Oval 651">
                  <a:extLst>
                    <a:ext uri="{FF2B5EF4-FFF2-40B4-BE49-F238E27FC236}">
                      <a16:creationId xmlns:a16="http://schemas.microsoft.com/office/drawing/2014/main" id="{6B7C1321-88AD-4945-8CE9-0306E09F10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53" name="Oval 652">
                  <a:extLst>
                    <a:ext uri="{FF2B5EF4-FFF2-40B4-BE49-F238E27FC236}">
                      <a16:creationId xmlns:a16="http://schemas.microsoft.com/office/drawing/2014/main" id="{AA2A8A1A-C276-49D2-8D02-9E451CA0D5BB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640" name="Oval 639">
                <a:extLst>
                  <a:ext uri="{FF2B5EF4-FFF2-40B4-BE49-F238E27FC236}">
                    <a16:creationId xmlns:a16="http://schemas.microsoft.com/office/drawing/2014/main" id="{64343499-DBB5-4ABB-A645-532FAE7B9048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1" name="Oval 640">
                <a:extLst>
                  <a:ext uri="{FF2B5EF4-FFF2-40B4-BE49-F238E27FC236}">
                    <a16:creationId xmlns:a16="http://schemas.microsoft.com/office/drawing/2014/main" id="{81199B31-EEE8-41D4-B903-B3A0E3F10B2E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2" name="Oval 641">
                <a:extLst>
                  <a:ext uri="{FF2B5EF4-FFF2-40B4-BE49-F238E27FC236}">
                    <a16:creationId xmlns:a16="http://schemas.microsoft.com/office/drawing/2014/main" id="{E6A151D1-ECAD-46AE-A760-EE230FC28207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3" name="Oval 642">
                <a:extLst>
                  <a:ext uri="{FF2B5EF4-FFF2-40B4-BE49-F238E27FC236}">
                    <a16:creationId xmlns:a16="http://schemas.microsoft.com/office/drawing/2014/main" id="{6591780D-04D9-4418-A587-66043078275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4" name="Oval 643">
                <a:extLst>
                  <a:ext uri="{FF2B5EF4-FFF2-40B4-BE49-F238E27FC236}">
                    <a16:creationId xmlns:a16="http://schemas.microsoft.com/office/drawing/2014/main" id="{DBF5EAFE-0FB1-4B2B-AB3A-68B140D42F0D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5" name="Oval 644">
                <a:extLst>
                  <a:ext uri="{FF2B5EF4-FFF2-40B4-BE49-F238E27FC236}">
                    <a16:creationId xmlns:a16="http://schemas.microsoft.com/office/drawing/2014/main" id="{C53C286C-1E56-4CEA-A941-2CAFDEC1EF2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6" name="Oval 645">
                <a:extLst>
                  <a:ext uri="{FF2B5EF4-FFF2-40B4-BE49-F238E27FC236}">
                    <a16:creationId xmlns:a16="http://schemas.microsoft.com/office/drawing/2014/main" id="{32C5D1A9-262C-46AC-84F7-AE486524C8AD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7" name="Oval 646">
                <a:extLst>
                  <a:ext uri="{FF2B5EF4-FFF2-40B4-BE49-F238E27FC236}">
                    <a16:creationId xmlns:a16="http://schemas.microsoft.com/office/drawing/2014/main" id="{5C9AA2FB-880D-41D0-A32E-20E660C8A4A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8" name="Oval 647">
                <a:extLst>
                  <a:ext uri="{FF2B5EF4-FFF2-40B4-BE49-F238E27FC236}">
                    <a16:creationId xmlns:a16="http://schemas.microsoft.com/office/drawing/2014/main" id="{2D0AFA22-CEB6-4884-9931-2FFF7478CCEB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49" name="Oval 648">
                <a:extLst>
                  <a:ext uri="{FF2B5EF4-FFF2-40B4-BE49-F238E27FC236}">
                    <a16:creationId xmlns:a16="http://schemas.microsoft.com/office/drawing/2014/main" id="{D5F7AA49-5CAF-47BC-AFB7-6C255EABF72A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D4CE2A97-30E9-48A1-B12C-ECE6383FB89E}"/>
                </a:ext>
              </a:extLst>
            </p:cNvPr>
            <p:cNvGrpSpPr/>
            <p:nvPr/>
          </p:nvGrpSpPr>
          <p:grpSpPr>
            <a:xfrm>
              <a:off x="8783682" y="5186957"/>
              <a:ext cx="2609224" cy="643538"/>
              <a:chOff x="330424" y="3751799"/>
              <a:chExt cx="15193725" cy="3747377"/>
            </a:xfrm>
          </p:grpSpPr>
          <p:sp>
            <p:nvSpPr>
              <p:cNvPr id="574" name="Arrow: Pentagon 573">
                <a:extLst>
                  <a:ext uri="{FF2B5EF4-FFF2-40B4-BE49-F238E27FC236}">
                    <a16:creationId xmlns:a16="http://schemas.microsoft.com/office/drawing/2014/main" id="{73AF45ED-3D83-4BCE-952B-A9ADE27E677C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75" name="Straight Connector 574">
                <a:extLst>
                  <a:ext uri="{FF2B5EF4-FFF2-40B4-BE49-F238E27FC236}">
                    <a16:creationId xmlns:a16="http://schemas.microsoft.com/office/drawing/2014/main" id="{DFE0E2D2-52B1-446F-9490-368B9BF414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6" name="Straight Connector 575">
                <a:extLst>
                  <a:ext uri="{FF2B5EF4-FFF2-40B4-BE49-F238E27FC236}">
                    <a16:creationId xmlns:a16="http://schemas.microsoft.com/office/drawing/2014/main" id="{B90A9EFE-1161-4F21-B004-A8A8CCE16E0C}"/>
                  </a:ext>
                </a:extLst>
              </p:cNvPr>
              <p:cNvCxnSpPr>
                <a:cxnSpLocks/>
                <a:endCxn id="612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7" name="Straight Connector 576">
                <a:extLst>
                  <a:ext uri="{FF2B5EF4-FFF2-40B4-BE49-F238E27FC236}">
                    <a16:creationId xmlns:a16="http://schemas.microsoft.com/office/drawing/2014/main" id="{40048141-1D9F-45D0-87F2-6EC22ECE4D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8" name="Straight Connector 577">
                <a:extLst>
                  <a:ext uri="{FF2B5EF4-FFF2-40B4-BE49-F238E27FC236}">
                    <a16:creationId xmlns:a16="http://schemas.microsoft.com/office/drawing/2014/main" id="{CF41C0AD-CA83-4AE8-9B03-A7DAD43983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79" name="Straight Connector 578">
                <a:extLst>
                  <a:ext uri="{FF2B5EF4-FFF2-40B4-BE49-F238E27FC236}">
                    <a16:creationId xmlns:a16="http://schemas.microsoft.com/office/drawing/2014/main" id="{5BA6F3C4-1D30-4EBB-B786-C241D0EA37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80" name="Oval 579">
                <a:extLst>
                  <a:ext uri="{FF2B5EF4-FFF2-40B4-BE49-F238E27FC236}">
                    <a16:creationId xmlns:a16="http://schemas.microsoft.com/office/drawing/2014/main" id="{B5DAE053-9517-486A-957C-3782E7A98FD1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81" name="Oval 580">
                <a:extLst>
                  <a:ext uri="{FF2B5EF4-FFF2-40B4-BE49-F238E27FC236}">
                    <a16:creationId xmlns:a16="http://schemas.microsoft.com/office/drawing/2014/main" id="{49CCA336-B93F-4014-91A5-108F4C705784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82" name="Straight Connector 581">
                <a:extLst>
                  <a:ext uri="{FF2B5EF4-FFF2-40B4-BE49-F238E27FC236}">
                    <a16:creationId xmlns:a16="http://schemas.microsoft.com/office/drawing/2014/main" id="{F224D670-3064-4294-842C-61CD0D0C37C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3" name="Straight Connector 582">
                <a:extLst>
                  <a:ext uri="{FF2B5EF4-FFF2-40B4-BE49-F238E27FC236}">
                    <a16:creationId xmlns:a16="http://schemas.microsoft.com/office/drawing/2014/main" id="{6EAB0200-6286-4A19-8B90-B08F5A4CA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4" name="Straight Connector 583">
                <a:extLst>
                  <a:ext uri="{FF2B5EF4-FFF2-40B4-BE49-F238E27FC236}">
                    <a16:creationId xmlns:a16="http://schemas.microsoft.com/office/drawing/2014/main" id="{3E06DC60-3901-4833-BF1C-EBDB894328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5" name="Straight Connector 584">
                <a:extLst>
                  <a:ext uri="{FF2B5EF4-FFF2-40B4-BE49-F238E27FC236}">
                    <a16:creationId xmlns:a16="http://schemas.microsoft.com/office/drawing/2014/main" id="{1F2D29F7-2595-4DD7-91A3-3614FDC72A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5646C9CF-F99A-49C4-884B-74E0C3AA5B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7" name="Straight Connector 586">
                <a:extLst>
                  <a:ext uri="{FF2B5EF4-FFF2-40B4-BE49-F238E27FC236}">
                    <a16:creationId xmlns:a16="http://schemas.microsoft.com/office/drawing/2014/main" id="{E2523E82-C92C-46FF-A7FD-4BA32474F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8" name="Straight Connector 587">
                <a:extLst>
                  <a:ext uri="{FF2B5EF4-FFF2-40B4-BE49-F238E27FC236}">
                    <a16:creationId xmlns:a16="http://schemas.microsoft.com/office/drawing/2014/main" id="{F58E22DF-8260-4927-B27C-598D961A8A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89" name="Group 588">
                <a:extLst>
                  <a:ext uri="{FF2B5EF4-FFF2-40B4-BE49-F238E27FC236}">
                    <a16:creationId xmlns:a16="http://schemas.microsoft.com/office/drawing/2014/main" id="{A5E87FCD-3AAF-4F50-B243-94B3C9B3E7FA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612" name="Oval 611">
                  <a:extLst>
                    <a:ext uri="{FF2B5EF4-FFF2-40B4-BE49-F238E27FC236}">
                      <a16:creationId xmlns:a16="http://schemas.microsoft.com/office/drawing/2014/main" id="{FAD1DA9B-3AB8-46B6-A921-FF0CA2CEC270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3" name="Oval 612">
                  <a:extLst>
                    <a:ext uri="{FF2B5EF4-FFF2-40B4-BE49-F238E27FC236}">
                      <a16:creationId xmlns:a16="http://schemas.microsoft.com/office/drawing/2014/main" id="{570DD62E-0F77-452F-95B3-80702C11D709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4" name="Oval 613">
                  <a:extLst>
                    <a:ext uri="{FF2B5EF4-FFF2-40B4-BE49-F238E27FC236}">
                      <a16:creationId xmlns:a16="http://schemas.microsoft.com/office/drawing/2014/main" id="{3D5D9AC6-CA32-42F7-9988-B67557B2109A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5" name="Oval 614">
                  <a:extLst>
                    <a:ext uri="{FF2B5EF4-FFF2-40B4-BE49-F238E27FC236}">
                      <a16:creationId xmlns:a16="http://schemas.microsoft.com/office/drawing/2014/main" id="{A9EAC213-E78F-47DE-AAF7-62F26DF303AC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0" name="Oval 589">
                <a:extLst>
                  <a:ext uri="{FF2B5EF4-FFF2-40B4-BE49-F238E27FC236}">
                    <a16:creationId xmlns:a16="http://schemas.microsoft.com/office/drawing/2014/main" id="{01439655-D2EF-4699-BE21-EED37C5CAEB9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91" name="Straight Connector 590">
                <a:extLst>
                  <a:ext uri="{FF2B5EF4-FFF2-40B4-BE49-F238E27FC236}">
                    <a16:creationId xmlns:a16="http://schemas.microsoft.com/office/drawing/2014/main" id="{7A18D2F3-463D-4384-9D60-E123C343902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2" name="Straight Connector 591">
                <a:extLst>
                  <a:ext uri="{FF2B5EF4-FFF2-40B4-BE49-F238E27FC236}">
                    <a16:creationId xmlns:a16="http://schemas.microsoft.com/office/drawing/2014/main" id="{323758D9-501A-4B9F-A11C-0E2271516D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98F25BDD-DED9-4E11-BD80-B806CA5DB6BE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E838A88D-F62E-467E-BF62-44E47A187834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95" name="Straight Connector 594">
                <a:extLst>
                  <a:ext uri="{FF2B5EF4-FFF2-40B4-BE49-F238E27FC236}">
                    <a16:creationId xmlns:a16="http://schemas.microsoft.com/office/drawing/2014/main" id="{A1F74D45-710E-4E79-B73B-614D7C9857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96" name="Straight Connector 595">
                <a:extLst>
                  <a:ext uri="{FF2B5EF4-FFF2-40B4-BE49-F238E27FC236}">
                    <a16:creationId xmlns:a16="http://schemas.microsoft.com/office/drawing/2014/main" id="{639B6CCD-C1D0-4E88-81EF-3ABA23831FA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454EA6DB-B17E-4A93-94F4-77E000FA00E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5E4D46B7-1D6C-473C-B0B9-E3A9BB2C7B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09" name="Oval 608">
                  <a:extLst>
                    <a:ext uri="{FF2B5EF4-FFF2-40B4-BE49-F238E27FC236}">
                      <a16:creationId xmlns:a16="http://schemas.microsoft.com/office/drawing/2014/main" id="{29CB1F77-CE69-41D1-B582-5917E8D156DD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5CFF8310-06F1-4BE7-B93A-D7199AF5EA80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3B6C1286-4190-42D4-8BA5-67423F401A57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52C70A94-68A0-4C2E-B1F4-83979AE8B664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5CC35C9B-7021-4520-A621-5F89B0C5C7BA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0" name="Oval 599">
                <a:extLst>
                  <a:ext uri="{FF2B5EF4-FFF2-40B4-BE49-F238E27FC236}">
                    <a16:creationId xmlns:a16="http://schemas.microsoft.com/office/drawing/2014/main" id="{72BCE379-F25D-4ABE-A7A5-92B6D90EF884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1" name="Oval 600">
                <a:extLst>
                  <a:ext uri="{FF2B5EF4-FFF2-40B4-BE49-F238E27FC236}">
                    <a16:creationId xmlns:a16="http://schemas.microsoft.com/office/drawing/2014/main" id="{1E700C57-4EDC-4BA4-85D6-2F854D40220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2" name="Oval 601">
                <a:extLst>
                  <a:ext uri="{FF2B5EF4-FFF2-40B4-BE49-F238E27FC236}">
                    <a16:creationId xmlns:a16="http://schemas.microsoft.com/office/drawing/2014/main" id="{7B7939DF-CC19-449D-BA6B-D08AC97B2AC4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625B94F0-D778-4BE0-9831-F073724D87E2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CBA179C5-76D4-4D37-A6BB-59D45009FF1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5" name="Oval 604">
                <a:extLst>
                  <a:ext uri="{FF2B5EF4-FFF2-40B4-BE49-F238E27FC236}">
                    <a16:creationId xmlns:a16="http://schemas.microsoft.com/office/drawing/2014/main" id="{F04E218F-F9C0-4736-8669-A03B7F938726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6" name="Oval 605">
                <a:extLst>
                  <a:ext uri="{FF2B5EF4-FFF2-40B4-BE49-F238E27FC236}">
                    <a16:creationId xmlns:a16="http://schemas.microsoft.com/office/drawing/2014/main" id="{42D6EBA9-8EC5-40FF-BD8A-0FA3EEDD9377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07" name="Oval 606">
                <a:extLst>
                  <a:ext uri="{FF2B5EF4-FFF2-40B4-BE49-F238E27FC236}">
                    <a16:creationId xmlns:a16="http://schemas.microsoft.com/office/drawing/2014/main" id="{32C2A918-DFA0-4FBE-BD85-D01F2694535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67F429F5-9265-4695-B6F8-75A3BA2831EE}"/>
                </a:ext>
              </a:extLst>
            </p:cNvPr>
            <p:cNvGrpSpPr/>
            <p:nvPr/>
          </p:nvGrpSpPr>
          <p:grpSpPr>
            <a:xfrm>
              <a:off x="11937160" y="4662939"/>
              <a:ext cx="2609224" cy="643538"/>
              <a:chOff x="330424" y="3751799"/>
              <a:chExt cx="15193725" cy="3747377"/>
            </a:xfrm>
          </p:grpSpPr>
          <p:sp>
            <p:nvSpPr>
              <p:cNvPr id="532" name="Arrow: Pentagon 531">
                <a:extLst>
                  <a:ext uri="{FF2B5EF4-FFF2-40B4-BE49-F238E27FC236}">
                    <a16:creationId xmlns:a16="http://schemas.microsoft.com/office/drawing/2014/main" id="{505999C5-0B00-4EC8-BA2F-1D047FB4EDE5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533" name="Straight Connector 532">
                <a:extLst>
                  <a:ext uri="{FF2B5EF4-FFF2-40B4-BE49-F238E27FC236}">
                    <a16:creationId xmlns:a16="http://schemas.microsoft.com/office/drawing/2014/main" id="{541B5C8F-70B3-4ECB-A509-99526C5983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DDDA5102-2E43-44CC-866C-7A524EA9AD65}"/>
                  </a:ext>
                </a:extLst>
              </p:cNvPr>
              <p:cNvCxnSpPr>
                <a:cxnSpLocks/>
                <a:endCxn id="570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3178F730-2D66-4F68-B665-34041B7F1A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6" name="Straight Connector 535">
                <a:extLst>
                  <a:ext uri="{FF2B5EF4-FFF2-40B4-BE49-F238E27FC236}">
                    <a16:creationId xmlns:a16="http://schemas.microsoft.com/office/drawing/2014/main" id="{2BE80CA0-3689-49C8-8F31-E21BA13A0C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1622C3B2-CC01-4D57-A9BD-E2A1B313BC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3FF2093F-8947-4593-899A-D17688D779E4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9087CB07-B041-4417-8C4D-23F4F08AD7D9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968FB0C7-AC48-4BFB-8A97-F615D2E57D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5E3C1FDE-E40F-42AB-8CCE-9DC34097A7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2" name="Straight Connector 541">
                <a:extLst>
                  <a:ext uri="{FF2B5EF4-FFF2-40B4-BE49-F238E27FC236}">
                    <a16:creationId xmlns:a16="http://schemas.microsoft.com/office/drawing/2014/main" id="{AF328D83-641C-4E16-854A-32CEA7EE0A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F983CE3A-7FD2-4ED2-946A-92588173F2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F8402752-3178-4FC1-AA07-3E720C0E3E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5" name="Straight Connector 544">
                <a:extLst>
                  <a:ext uri="{FF2B5EF4-FFF2-40B4-BE49-F238E27FC236}">
                    <a16:creationId xmlns:a16="http://schemas.microsoft.com/office/drawing/2014/main" id="{2119F1F6-5D65-4F70-980A-12CC27B045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BC868CD7-AD3E-426D-BAF4-EFC92036960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47" name="Group 546">
                <a:extLst>
                  <a:ext uri="{FF2B5EF4-FFF2-40B4-BE49-F238E27FC236}">
                    <a16:creationId xmlns:a16="http://schemas.microsoft.com/office/drawing/2014/main" id="{CE92C4D0-BDCE-431D-96D0-0037CCF1FA53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570" name="Oval 569">
                  <a:extLst>
                    <a:ext uri="{FF2B5EF4-FFF2-40B4-BE49-F238E27FC236}">
                      <a16:creationId xmlns:a16="http://schemas.microsoft.com/office/drawing/2014/main" id="{2694ACE2-DB37-49BF-9CA2-FE3104C09F1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1" name="Oval 570">
                  <a:extLst>
                    <a:ext uri="{FF2B5EF4-FFF2-40B4-BE49-F238E27FC236}">
                      <a16:creationId xmlns:a16="http://schemas.microsoft.com/office/drawing/2014/main" id="{4114612C-D30B-406C-BA48-1C6A1608D8DC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2" name="Oval 571">
                  <a:extLst>
                    <a:ext uri="{FF2B5EF4-FFF2-40B4-BE49-F238E27FC236}">
                      <a16:creationId xmlns:a16="http://schemas.microsoft.com/office/drawing/2014/main" id="{ECF8DAD0-DBE1-4D9B-8244-34673961229F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73" name="Oval 572">
                  <a:extLst>
                    <a:ext uri="{FF2B5EF4-FFF2-40B4-BE49-F238E27FC236}">
                      <a16:creationId xmlns:a16="http://schemas.microsoft.com/office/drawing/2014/main" id="{714CE336-CB16-4332-8FD4-BF129F171013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48" name="Oval 547">
                <a:extLst>
                  <a:ext uri="{FF2B5EF4-FFF2-40B4-BE49-F238E27FC236}">
                    <a16:creationId xmlns:a16="http://schemas.microsoft.com/office/drawing/2014/main" id="{2782B6F4-CC43-4A5B-9256-F7A077AB058F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C6FE0F79-3476-49D8-8B5B-265B99B6C71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0" name="Straight Connector 549">
                <a:extLst>
                  <a:ext uri="{FF2B5EF4-FFF2-40B4-BE49-F238E27FC236}">
                    <a16:creationId xmlns:a16="http://schemas.microsoft.com/office/drawing/2014/main" id="{62970595-4549-41F3-82BD-A3A2D8734CB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51" name="Oval 550">
                <a:extLst>
                  <a:ext uri="{FF2B5EF4-FFF2-40B4-BE49-F238E27FC236}">
                    <a16:creationId xmlns:a16="http://schemas.microsoft.com/office/drawing/2014/main" id="{6411FDB5-DF7E-4392-8463-950C955CC7BF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552" name="Oval 551">
                <a:extLst>
                  <a:ext uri="{FF2B5EF4-FFF2-40B4-BE49-F238E27FC236}">
                    <a16:creationId xmlns:a16="http://schemas.microsoft.com/office/drawing/2014/main" id="{9A33171E-AD01-4DE7-B964-66211C1886F8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553" name="Straight Connector 552">
                <a:extLst>
                  <a:ext uri="{FF2B5EF4-FFF2-40B4-BE49-F238E27FC236}">
                    <a16:creationId xmlns:a16="http://schemas.microsoft.com/office/drawing/2014/main" id="{6C895C77-534A-4D43-86E7-BC1A9A9957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4" name="Straight Connector 553">
                <a:extLst>
                  <a:ext uri="{FF2B5EF4-FFF2-40B4-BE49-F238E27FC236}">
                    <a16:creationId xmlns:a16="http://schemas.microsoft.com/office/drawing/2014/main" id="{A8F8DA32-D765-44CE-A93B-385AD675E3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555" name="Group 554">
                <a:extLst>
                  <a:ext uri="{FF2B5EF4-FFF2-40B4-BE49-F238E27FC236}">
                    <a16:creationId xmlns:a16="http://schemas.microsoft.com/office/drawing/2014/main" id="{67561FDD-869C-49AA-9A77-BE7BF93164B4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5BC4687C-AC0A-4F24-AD4C-24D448B11B14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7" name="Oval 566">
                  <a:extLst>
                    <a:ext uri="{FF2B5EF4-FFF2-40B4-BE49-F238E27FC236}">
                      <a16:creationId xmlns:a16="http://schemas.microsoft.com/office/drawing/2014/main" id="{C912DA9B-958C-4AEB-8886-95F98E365CE1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8" name="Oval 567">
                  <a:extLst>
                    <a:ext uri="{FF2B5EF4-FFF2-40B4-BE49-F238E27FC236}">
                      <a16:creationId xmlns:a16="http://schemas.microsoft.com/office/drawing/2014/main" id="{D97007F9-A72D-4DAD-A984-D8683B19D1B9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69" name="Oval 568">
                  <a:extLst>
                    <a:ext uri="{FF2B5EF4-FFF2-40B4-BE49-F238E27FC236}">
                      <a16:creationId xmlns:a16="http://schemas.microsoft.com/office/drawing/2014/main" id="{7564999C-A7F1-4F0B-A4DC-217D1D292FC9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556" name="Oval 555">
                <a:extLst>
                  <a:ext uri="{FF2B5EF4-FFF2-40B4-BE49-F238E27FC236}">
                    <a16:creationId xmlns:a16="http://schemas.microsoft.com/office/drawing/2014/main" id="{D9FC74DC-27D5-4275-B714-C1127F11F3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7" name="Oval 556">
                <a:extLst>
                  <a:ext uri="{FF2B5EF4-FFF2-40B4-BE49-F238E27FC236}">
                    <a16:creationId xmlns:a16="http://schemas.microsoft.com/office/drawing/2014/main" id="{13C86B6E-F6A6-49E3-B91D-D23B878E81F8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8" name="Oval 557">
                <a:extLst>
                  <a:ext uri="{FF2B5EF4-FFF2-40B4-BE49-F238E27FC236}">
                    <a16:creationId xmlns:a16="http://schemas.microsoft.com/office/drawing/2014/main" id="{C1E28E94-7B8D-4D36-970E-A98A741D05F8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59" name="Oval 558">
                <a:extLst>
                  <a:ext uri="{FF2B5EF4-FFF2-40B4-BE49-F238E27FC236}">
                    <a16:creationId xmlns:a16="http://schemas.microsoft.com/office/drawing/2014/main" id="{5463F0F1-C917-43EB-8B75-2FCC0BA9F8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0" name="Oval 559">
                <a:extLst>
                  <a:ext uri="{FF2B5EF4-FFF2-40B4-BE49-F238E27FC236}">
                    <a16:creationId xmlns:a16="http://schemas.microsoft.com/office/drawing/2014/main" id="{C9CD38FF-01A5-4855-B024-AD3664BC9F3F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1" name="Oval 560">
                <a:extLst>
                  <a:ext uri="{FF2B5EF4-FFF2-40B4-BE49-F238E27FC236}">
                    <a16:creationId xmlns:a16="http://schemas.microsoft.com/office/drawing/2014/main" id="{FCC9F4BA-4999-4FDF-8DBE-7BEEA1010158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2" name="Oval 561">
                <a:extLst>
                  <a:ext uri="{FF2B5EF4-FFF2-40B4-BE49-F238E27FC236}">
                    <a16:creationId xmlns:a16="http://schemas.microsoft.com/office/drawing/2014/main" id="{A885EE63-AFAC-456B-B0C9-20ADBBCF61E5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3" name="Oval 562">
                <a:extLst>
                  <a:ext uri="{FF2B5EF4-FFF2-40B4-BE49-F238E27FC236}">
                    <a16:creationId xmlns:a16="http://schemas.microsoft.com/office/drawing/2014/main" id="{DADF4997-9A43-478A-9AB5-5A72B65BBB34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4" name="Oval 563">
                <a:extLst>
                  <a:ext uri="{FF2B5EF4-FFF2-40B4-BE49-F238E27FC236}">
                    <a16:creationId xmlns:a16="http://schemas.microsoft.com/office/drawing/2014/main" id="{C80984D8-9844-4A52-BBAB-9F30593AC0EE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5" name="Oval 564">
                <a:extLst>
                  <a:ext uri="{FF2B5EF4-FFF2-40B4-BE49-F238E27FC236}">
                    <a16:creationId xmlns:a16="http://schemas.microsoft.com/office/drawing/2014/main" id="{AD99AFCF-02BA-4B89-A427-CAE88E370F9B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994" name="Group 993">
              <a:extLst>
                <a:ext uri="{FF2B5EF4-FFF2-40B4-BE49-F238E27FC236}">
                  <a16:creationId xmlns:a16="http://schemas.microsoft.com/office/drawing/2014/main" id="{C750DB56-4FD9-4852-98E2-910793138BBF}"/>
                </a:ext>
              </a:extLst>
            </p:cNvPr>
            <p:cNvGrpSpPr/>
            <p:nvPr/>
          </p:nvGrpSpPr>
          <p:grpSpPr>
            <a:xfrm>
              <a:off x="11237131" y="2135247"/>
              <a:ext cx="2609224" cy="643538"/>
              <a:chOff x="330424" y="3751799"/>
              <a:chExt cx="15193725" cy="3747377"/>
            </a:xfrm>
          </p:grpSpPr>
          <p:sp>
            <p:nvSpPr>
              <p:cNvPr id="995" name="Arrow: Pentagon 994">
                <a:extLst>
                  <a:ext uri="{FF2B5EF4-FFF2-40B4-BE49-F238E27FC236}">
                    <a16:creationId xmlns:a16="http://schemas.microsoft.com/office/drawing/2014/main" id="{F0689561-9198-4340-A6C7-E379B73AB7AF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96" name="Straight Connector 995">
                <a:extLst>
                  <a:ext uri="{FF2B5EF4-FFF2-40B4-BE49-F238E27FC236}">
                    <a16:creationId xmlns:a16="http://schemas.microsoft.com/office/drawing/2014/main" id="{31EAA6F5-80B6-4B22-B02D-70C90F9ED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7" name="Straight Connector 996">
                <a:extLst>
                  <a:ext uri="{FF2B5EF4-FFF2-40B4-BE49-F238E27FC236}">
                    <a16:creationId xmlns:a16="http://schemas.microsoft.com/office/drawing/2014/main" id="{891D515E-3D28-4B30-94ED-9E17F0149D76}"/>
                  </a:ext>
                </a:extLst>
              </p:cNvPr>
              <p:cNvCxnSpPr>
                <a:cxnSpLocks/>
                <a:endCxn id="1033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8" name="Straight Connector 997">
                <a:extLst>
                  <a:ext uri="{FF2B5EF4-FFF2-40B4-BE49-F238E27FC236}">
                    <a16:creationId xmlns:a16="http://schemas.microsoft.com/office/drawing/2014/main" id="{AF96CBA6-5E30-4CAC-A607-96BEB3C613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999" name="Straight Connector 998">
                <a:extLst>
                  <a:ext uri="{FF2B5EF4-FFF2-40B4-BE49-F238E27FC236}">
                    <a16:creationId xmlns:a16="http://schemas.microsoft.com/office/drawing/2014/main" id="{14D67CC4-534B-4736-A043-FED6594493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0" name="Straight Connector 999">
                <a:extLst>
                  <a:ext uri="{FF2B5EF4-FFF2-40B4-BE49-F238E27FC236}">
                    <a16:creationId xmlns:a16="http://schemas.microsoft.com/office/drawing/2014/main" id="{86D666DE-D68B-4243-8D35-F7A4A8DCCE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01" name="Oval 1000">
                <a:extLst>
                  <a:ext uri="{FF2B5EF4-FFF2-40B4-BE49-F238E27FC236}">
                    <a16:creationId xmlns:a16="http://schemas.microsoft.com/office/drawing/2014/main" id="{86D7EBFF-6828-43F1-A0AD-0A0F11ABB785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02" name="Oval 1001">
                <a:extLst>
                  <a:ext uri="{FF2B5EF4-FFF2-40B4-BE49-F238E27FC236}">
                    <a16:creationId xmlns:a16="http://schemas.microsoft.com/office/drawing/2014/main" id="{4ABAF847-4BCC-47E7-B45C-BC64C0FECCD0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03" name="Straight Connector 1002">
                <a:extLst>
                  <a:ext uri="{FF2B5EF4-FFF2-40B4-BE49-F238E27FC236}">
                    <a16:creationId xmlns:a16="http://schemas.microsoft.com/office/drawing/2014/main" id="{FA23B08E-7547-4647-81FA-308940C202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4" name="Straight Connector 1003">
                <a:extLst>
                  <a:ext uri="{FF2B5EF4-FFF2-40B4-BE49-F238E27FC236}">
                    <a16:creationId xmlns:a16="http://schemas.microsoft.com/office/drawing/2014/main" id="{437EED3F-9FFF-46D3-844E-4BE5C880CB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5" name="Straight Connector 1004">
                <a:extLst>
                  <a:ext uri="{FF2B5EF4-FFF2-40B4-BE49-F238E27FC236}">
                    <a16:creationId xmlns:a16="http://schemas.microsoft.com/office/drawing/2014/main" id="{DBA36279-B4E2-4379-8B10-A1CD292EC8A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6" name="Straight Connector 1005">
                <a:extLst>
                  <a:ext uri="{FF2B5EF4-FFF2-40B4-BE49-F238E27FC236}">
                    <a16:creationId xmlns:a16="http://schemas.microsoft.com/office/drawing/2014/main" id="{77ABF8FE-D51B-4E22-AA7A-5A2B6FEE0C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7" name="Straight Connector 1006">
                <a:extLst>
                  <a:ext uri="{FF2B5EF4-FFF2-40B4-BE49-F238E27FC236}">
                    <a16:creationId xmlns:a16="http://schemas.microsoft.com/office/drawing/2014/main" id="{E40637E0-8596-4078-9AA2-414EFE81B2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8" name="Straight Connector 1007">
                <a:extLst>
                  <a:ext uri="{FF2B5EF4-FFF2-40B4-BE49-F238E27FC236}">
                    <a16:creationId xmlns:a16="http://schemas.microsoft.com/office/drawing/2014/main" id="{4A4B4CDF-9508-4607-9D44-BC5EDBEEC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09" name="Straight Connector 1008">
                <a:extLst>
                  <a:ext uri="{FF2B5EF4-FFF2-40B4-BE49-F238E27FC236}">
                    <a16:creationId xmlns:a16="http://schemas.microsoft.com/office/drawing/2014/main" id="{A68BCF02-D8E3-46E4-B94B-5C385009DF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0" name="Group 1009">
                <a:extLst>
                  <a:ext uri="{FF2B5EF4-FFF2-40B4-BE49-F238E27FC236}">
                    <a16:creationId xmlns:a16="http://schemas.microsoft.com/office/drawing/2014/main" id="{04A3AD77-8B85-49A6-8781-35389538E477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33" name="Oval 1032">
                  <a:extLst>
                    <a:ext uri="{FF2B5EF4-FFF2-40B4-BE49-F238E27FC236}">
                      <a16:creationId xmlns:a16="http://schemas.microsoft.com/office/drawing/2014/main" id="{F178FFBA-E0E4-4EF5-9561-A1883BE85BEB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4" name="Oval 1033">
                  <a:extLst>
                    <a:ext uri="{FF2B5EF4-FFF2-40B4-BE49-F238E27FC236}">
                      <a16:creationId xmlns:a16="http://schemas.microsoft.com/office/drawing/2014/main" id="{33D9D8A4-B9AE-46B3-AA94-1573DD839873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5" name="Oval 1034">
                  <a:extLst>
                    <a:ext uri="{FF2B5EF4-FFF2-40B4-BE49-F238E27FC236}">
                      <a16:creationId xmlns:a16="http://schemas.microsoft.com/office/drawing/2014/main" id="{B29B0A91-4AAC-439E-BD77-36D21B77B594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6" name="Oval 1035">
                  <a:extLst>
                    <a:ext uri="{FF2B5EF4-FFF2-40B4-BE49-F238E27FC236}">
                      <a16:creationId xmlns:a16="http://schemas.microsoft.com/office/drawing/2014/main" id="{7E22C534-A9B8-4CF8-8F44-CD21617F175E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1" name="Oval 1010">
                <a:extLst>
                  <a:ext uri="{FF2B5EF4-FFF2-40B4-BE49-F238E27FC236}">
                    <a16:creationId xmlns:a16="http://schemas.microsoft.com/office/drawing/2014/main" id="{576CC208-3DCD-4D33-9621-D42569D7C2A5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12" name="Straight Connector 1011">
                <a:extLst>
                  <a:ext uri="{FF2B5EF4-FFF2-40B4-BE49-F238E27FC236}">
                    <a16:creationId xmlns:a16="http://schemas.microsoft.com/office/drawing/2014/main" id="{858EB849-9BE6-4A81-BDEE-ABCE0728C0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3" name="Straight Connector 1012">
                <a:extLst>
                  <a:ext uri="{FF2B5EF4-FFF2-40B4-BE49-F238E27FC236}">
                    <a16:creationId xmlns:a16="http://schemas.microsoft.com/office/drawing/2014/main" id="{65309665-D295-4965-8EF5-3FA8B6C62B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14" name="Oval 1013">
                <a:extLst>
                  <a:ext uri="{FF2B5EF4-FFF2-40B4-BE49-F238E27FC236}">
                    <a16:creationId xmlns:a16="http://schemas.microsoft.com/office/drawing/2014/main" id="{3DBF54A8-85FE-483B-B8ED-12F06E6547A8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15" name="Oval 1014">
                <a:extLst>
                  <a:ext uri="{FF2B5EF4-FFF2-40B4-BE49-F238E27FC236}">
                    <a16:creationId xmlns:a16="http://schemas.microsoft.com/office/drawing/2014/main" id="{2570AA91-4EDA-4D26-936E-63EBF42BD7DE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7DF382DC-2E47-4049-B384-8B370D2C07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17" name="Straight Connector 1016">
                <a:extLst>
                  <a:ext uri="{FF2B5EF4-FFF2-40B4-BE49-F238E27FC236}">
                    <a16:creationId xmlns:a16="http://schemas.microsoft.com/office/drawing/2014/main" id="{42D40597-A25F-4B1E-97D2-D341B51093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18" name="Group 1017">
                <a:extLst>
                  <a:ext uri="{FF2B5EF4-FFF2-40B4-BE49-F238E27FC236}">
                    <a16:creationId xmlns:a16="http://schemas.microsoft.com/office/drawing/2014/main" id="{06BA71D6-0D99-4A99-8984-D1493224C3D8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29" name="Oval 1028">
                  <a:extLst>
                    <a:ext uri="{FF2B5EF4-FFF2-40B4-BE49-F238E27FC236}">
                      <a16:creationId xmlns:a16="http://schemas.microsoft.com/office/drawing/2014/main" id="{FF1F03A7-D677-40D0-9D5B-478E38002018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0" name="Oval 1029">
                  <a:extLst>
                    <a:ext uri="{FF2B5EF4-FFF2-40B4-BE49-F238E27FC236}">
                      <a16:creationId xmlns:a16="http://schemas.microsoft.com/office/drawing/2014/main" id="{4D297520-FCA7-4C41-A16F-8766B4A74AD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1" name="Oval 1030">
                  <a:extLst>
                    <a:ext uri="{FF2B5EF4-FFF2-40B4-BE49-F238E27FC236}">
                      <a16:creationId xmlns:a16="http://schemas.microsoft.com/office/drawing/2014/main" id="{684016FC-1DC4-4372-923D-36050813F35C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32" name="Oval 1031">
                  <a:extLst>
                    <a:ext uri="{FF2B5EF4-FFF2-40B4-BE49-F238E27FC236}">
                      <a16:creationId xmlns:a16="http://schemas.microsoft.com/office/drawing/2014/main" id="{BCC291D0-6DA3-4D5A-ADDA-2EC531D3D39F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19" name="Oval 1018">
                <a:extLst>
                  <a:ext uri="{FF2B5EF4-FFF2-40B4-BE49-F238E27FC236}">
                    <a16:creationId xmlns:a16="http://schemas.microsoft.com/office/drawing/2014/main" id="{A939377C-9FD4-47F9-90A5-5122D86B1EBF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0" name="Oval 1019">
                <a:extLst>
                  <a:ext uri="{FF2B5EF4-FFF2-40B4-BE49-F238E27FC236}">
                    <a16:creationId xmlns:a16="http://schemas.microsoft.com/office/drawing/2014/main" id="{32504989-34AA-4DC1-92AC-86210D15CBA9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1" name="Oval 1020">
                <a:extLst>
                  <a:ext uri="{FF2B5EF4-FFF2-40B4-BE49-F238E27FC236}">
                    <a16:creationId xmlns:a16="http://schemas.microsoft.com/office/drawing/2014/main" id="{C6B9F133-88BD-4D8C-9415-E51193B3AA0D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73B828A6-F990-4A18-BC2D-5327D98580A1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C6391F50-0861-4716-8074-697D55F12270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FB335865-085F-4EC3-92A0-7183127EE1E1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85DEDE97-C266-44C0-81B6-841BD0392799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6" name="Oval 1025">
                <a:extLst>
                  <a:ext uri="{FF2B5EF4-FFF2-40B4-BE49-F238E27FC236}">
                    <a16:creationId xmlns:a16="http://schemas.microsoft.com/office/drawing/2014/main" id="{14A31B08-BC31-4950-BDE0-0B729FD60A02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C8C06565-E359-41D8-A95B-C997A525B62A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3418E4F1-F294-433E-AE19-541C55C1AFB0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037" name="Group 1036">
              <a:extLst>
                <a:ext uri="{FF2B5EF4-FFF2-40B4-BE49-F238E27FC236}">
                  <a16:creationId xmlns:a16="http://schemas.microsoft.com/office/drawing/2014/main" id="{A4F97684-E800-4621-8ECB-79513BC37FBE}"/>
                </a:ext>
              </a:extLst>
            </p:cNvPr>
            <p:cNvGrpSpPr/>
            <p:nvPr/>
          </p:nvGrpSpPr>
          <p:grpSpPr>
            <a:xfrm>
              <a:off x="743839" y="6355596"/>
              <a:ext cx="2609224" cy="643538"/>
              <a:chOff x="330424" y="3751799"/>
              <a:chExt cx="15193725" cy="3747377"/>
            </a:xfrm>
          </p:grpSpPr>
          <p:sp>
            <p:nvSpPr>
              <p:cNvPr id="1038" name="Arrow: Pentagon 1037">
                <a:extLst>
                  <a:ext uri="{FF2B5EF4-FFF2-40B4-BE49-F238E27FC236}">
                    <a16:creationId xmlns:a16="http://schemas.microsoft.com/office/drawing/2014/main" id="{68CE24EE-29BB-43E2-B5CA-A0B8C57F86AB}"/>
                  </a:ext>
                </a:extLst>
              </p:cNvPr>
              <p:cNvSpPr/>
              <p:nvPr/>
            </p:nvSpPr>
            <p:spPr>
              <a:xfrm>
                <a:off x="330424" y="3751799"/>
                <a:ext cx="15193725" cy="3747377"/>
              </a:xfrm>
              <a:prstGeom prst="homePlate">
                <a:avLst>
                  <a:gd name="adj" fmla="val 33230"/>
                </a:avLst>
              </a:prstGeom>
              <a:solidFill>
                <a:schemeClr val="accent2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039" name="Straight Connector 1038">
                <a:extLst>
                  <a:ext uri="{FF2B5EF4-FFF2-40B4-BE49-F238E27FC236}">
                    <a16:creationId xmlns:a16="http://schemas.microsoft.com/office/drawing/2014/main" id="{4555FE43-BE3E-43E0-A506-11AF335126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2589" y="4958458"/>
                <a:ext cx="1932308" cy="66129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8C0C5F1E-9BEB-4152-A9EC-67BFCBB7761D}"/>
                  </a:ext>
                </a:extLst>
              </p:cNvPr>
              <p:cNvCxnSpPr>
                <a:cxnSpLocks/>
                <a:endCxn id="1076" idx="6"/>
              </p:cNvCxnSpPr>
              <p:nvPr/>
            </p:nvCxnSpPr>
            <p:spPr>
              <a:xfrm flipH="1">
                <a:off x="9313936" y="5612638"/>
                <a:ext cx="4084932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1" name="Straight Connector 1040">
                <a:extLst>
                  <a:ext uri="{FF2B5EF4-FFF2-40B4-BE49-F238E27FC236}">
                    <a16:creationId xmlns:a16="http://schemas.microsoft.com/office/drawing/2014/main" id="{7AA48440-E1D4-4A1A-A428-4FFCC30E13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38260" y="5611671"/>
                <a:ext cx="1985519" cy="87836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2" name="Straight Connector 1041">
                <a:extLst>
                  <a:ext uri="{FF2B5EF4-FFF2-40B4-BE49-F238E27FC236}">
                    <a16:creationId xmlns:a16="http://schemas.microsoft.com/office/drawing/2014/main" id="{5C24E747-970A-41DE-88C5-07E291F84B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1246" y="5007089"/>
                <a:ext cx="1350199" cy="3119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3" name="Straight Connector 1042">
                <a:extLst>
                  <a:ext uri="{FF2B5EF4-FFF2-40B4-BE49-F238E27FC236}">
                    <a16:creationId xmlns:a16="http://schemas.microsoft.com/office/drawing/2014/main" id="{0F10DE23-44A0-4E1B-B182-D062E1EE3F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51246" y="6412217"/>
                <a:ext cx="1377323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1E7104EE-149D-42AF-B55A-10E5A895254C}"/>
                  </a:ext>
                </a:extLst>
              </p:cNvPr>
              <p:cNvSpPr/>
              <p:nvPr/>
            </p:nvSpPr>
            <p:spPr>
              <a:xfrm>
                <a:off x="494972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7CE5AC40-E9B5-40E4-8F16-48FBE5924CAD}"/>
                  </a:ext>
                </a:extLst>
              </p:cNvPr>
              <p:cNvSpPr/>
              <p:nvPr/>
            </p:nvSpPr>
            <p:spPr>
              <a:xfrm>
                <a:off x="494972" y="5842992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46" name="Straight Connector 1045">
                <a:extLst>
                  <a:ext uri="{FF2B5EF4-FFF2-40B4-BE49-F238E27FC236}">
                    <a16:creationId xmlns:a16="http://schemas.microsoft.com/office/drawing/2014/main" id="{A31933E5-C5A4-49E5-864D-8EED6C18A4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13887" y="5038283"/>
                <a:ext cx="14682" cy="137393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7" name="Straight Connector 1046">
                <a:extLst>
                  <a:ext uri="{FF2B5EF4-FFF2-40B4-BE49-F238E27FC236}">
                    <a16:creationId xmlns:a16="http://schemas.microsoft.com/office/drawing/2014/main" id="{529E9993-F2F6-427F-B212-24585AEB29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77893" y="5621439"/>
                <a:ext cx="1350198" cy="1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8" name="Straight Connector 1047">
                <a:extLst>
                  <a:ext uri="{FF2B5EF4-FFF2-40B4-BE49-F238E27FC236}">
                    <a16:creationId xmlns:a16="http://schemas.microsoft.com/office/drawing/2014/main" id="{7F6D6A2D-06DF-4B23-9264-84ADD2B5F0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428091" y="5060276"/>
                <a:ext cx="1282614" cy="55139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49" name="Straight Connector 1048">
                <a:extLst>
                  <a:ext uri="{FF2B5EF4-FFF2-40B4-BE49-F238E27FC236}">
                    <a16:creationId xmlns:a16="http://schemas.microsoft.com/office/drawing/2014/main" id="{62A02F9C-4C29-46DD-A313-10F19D2D71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73028" y="4347631"/>
                <a:ext cx="1441993" cy="118942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0" name="Straight Connector 1049">
                <a:extLst>
                  <a:ext uri="{FF2B5EF4-FFF2-40B4-BE49-F238E27FC236}">
                    <a16:creationId xmlns:a16="http://schemas.microsoft.com/office/drawing/2014/main" id="{D228F142-A702-4140-BF16-B131491A1B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61672" y="5625496"/>
                <a:ext cx="1389531" cy="1194075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1" name="Straight Connector 1050">
                <a:extLst>
                  <a:ext uri="{FF2B5EF4-FFF2-40B4-BE49-F238E27FC236}">
                    <a16:creationId xmlns:a16="http://schemas.microsoft.com/office/drawing/2014/main" id="{485912D0-6A79-4916-B795-DAC4724B38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203" y="4347631"/>
                <a:ext cx="2623382" cy="124940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2" name="Straight Connector 1051">
                <a:extLst>
                  <a:ext uri="{FF2B5EF4-FFF2-40B4-BE49-F238E27FC236}">
                    <a16:creationId xmlns:a16="http://schemas.microsoft.com/office/drawing/2014/main" id="{B0EE7D77-D636-431A-B219-F36F4D0FC2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51203" y="5593462"/>
                <a:ext cx="2623383" cy="126206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53" name="Group 1052">
                <a:extLst>
                  <a:ext uri="{FF2B5EF4-FFF2-40B4-BE49-F238E27FC236}">
                    <a16:creationId xmlns:a16="http://schemas.microsoft.com/office/drawing/2014/main" id="{198F16D1-A7FA-462A-9403-01A6A763C992}"/>
                  </a:ext>
                </a:extLst>
              </p:cNvPr>
              <p:cNvGrpSpPr/>
              <p:nvPr/>
            </p:nvGrpSpPr>
            <p:grpSpPr>
              <a:xfrm>
                <a:off x="8191609" y="3796328"/>
                <a:ext cx="2520758" cy="3594267"/>
                <a:chOff x="7779176" y="3786468"/>
                <a:chExt cx="2520758" cy="3594267"/>
              </a:xfrm>
            </p:grpSpPr>
            <p:sp>
              <p:nvSpPr>
                <p:cNvPr id="1076" name="Oval 1075">
                  <a:extLst>
                    <a:ext uri="{FF2B5EF4-FFF2-40B4-BE49-F238E27FC236}">
                      <a16:creationId xmlns:a16="http://schemas.microsoft.com/office/drawing/2014/main" id="{03203DAF-1446-4CE6-A0E3-519339BB6E3C}"/>
                    </a:ext>
                  </a:extLst>
                </p:cNvPr>
                <p:cNvSpPr/>
                <p:nvPr/>
              </p:nvSpPr>
              <p:spPr>
                <a:xfrm>
                  <a:off x="7779176" y="5041615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7" name="Oval 1076">
                  <a:extLst>
                    <a:ext uri="{FF2B5EF4-FFF2-40B4-BE49-F238E27FC236}">
                      <a16:creationId xmlns:a16="http://schemas.microsoft.com/office/drawing/2014/main" id="{92C31502-D7C1-4FC4-A9A5-E5438960CCF5}"/>
                    </a:ext>
                  </a:extLst>
                </p:cNvPr>
                <p:cNvSpPr/>
                <p:nvPr/>
              </p:nvSpPr>
              <p:spPr>
                <a:xfrm>
                  <a:off x="9177607" y="378646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8" name="Oval 1077">
                  <a:extLst>
                    <a:ext uri="{FF2B5EF4-FFF2-40B4-BE49-F238E27FC236}">
                      <a16:creationId xmlns:a16="http://schemas.microsoft.com/office/drawing/2014/main" id="{60FBA64F-22E9-4124-928E-0479B368288E}"/>
                    </a:ext>
                  </a:extLst>
                </p:cNvPr>
                <p:cNvSpPr/>
                <p:nvPr/>
              </p:nvSpPr>
              <p:spPr>
                <a:xfrm>
                  <a:off x="9177607" y="62584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9" name="Oval 1078">
                  <a:extLst>
                    <a:ext uri="{FF2B5EF4-FFF2-40B4-BE49-F238E27FC236}">
                      <a16:creationId xmlns:a16="http://schemas.microsoft.com/office/drawing/2014/main" id="{A3E028BB-ED01-4A63-8D42-9A5BFAE804B9}"/>
                    </a:ext>
                  </a:extLst>
                </p:cNvPr>
                <p:cNvSpPr/>
                <p:nvPr/>
              </p:nvSpPr>
              <p:spPr>
                <a:xfrm>
                  <a:off x="9177607" y="5022108"/>
                  <a:ext cx="1122327" cy="1122327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54" name="Oval 1053">
                <a:extLst>
                  <a:ext uri="{FF2B5EF4-FFF2-40B4-BE49-F238E27FC236}">
                    <a16:creationId xmlns:a16="http://schemas.microsoft.com/office/drawing/2014/main" id="{498B6378-1CE0-4BC7-8C0F-385D71595342}"/>
                  </a:ext>
                </a:extLst>
              </p:cNvPr>
              <p:cNvSpPr/>
              <p:nvPr/>
            </p:nvSpPr>
            <p:spPr>
              <a:xfrm>
                <a:off x="11597510" y="4425907"/>
                <a:ext cx="2342266" cy="2342266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1055" name="Straight Connector 1054">
                <a:extLst>
                  <a:ext uri="{FF2B5EF4-FFF2-40B4-BE49-F238E27FC236}">
                    <a16:creationId xmlns:a16="http://schemas.microsoft.com/office/drawing/2014/main" id="{0971A626-8942-405A-9598-F84B17537F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448403" y="5001268"/>
                <a:ext cx="1609656" cy="642889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56" name="Straight Connector 1055">
                <a:extLst>
                  <a:ext uri="{FF2B5EF4-FFF2-40B4-BE49-F238E27FC236}">
                    <a16:creationId xmlns:a16="http://schemas.microsoft.com/office/drawing/2014/main" id="{D3102804-52F5-4E74-9821-83A14FDE9B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94053" y="5681662"/>
                <a:ext cx="1625313" cy="72249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AB273E9A-2044-4DA3-B540-85B727524A4C}"/>
                  </a:ext>
                </a:extLst>
              </p:cNvPr>
              <p:cNvSpPr/>
              <p:nvPr/>
            </p:nvSpPr>
            <p:spPr>
              <a:xfrm>
                <a:off x="1893130" y="4479606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sp>
            <p:nvSpPr>
              <p:cNvPr id="1058" name="Oval 1057">
                <a:extLst>
                  <a:ext uri="{FF2B5EF4-FFF2-40B4-BE49-F238E27FC236}">
                    <a16:creationId xmlns:a16="http://schemas.microsoft.com/office/drawing/2014/main" id="{15D9076A-23B9-4DA5-9749-738589467CA6}"/>
                  </a:ext>
                </a:extLst>
              </p:cNvPr>
              <p:cNvSpPr/>
              <p:nvPr/>
            </p:nvSpPr>
            <p:spPr>
              <a:xfrm>
                <a:off x="1845171" y="5851053"/>
                <a:ext cx="1122327" cy="1122327"/>
              </a:xfrm>
              <a:prstGeom prst="ellips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100" b="1" dirty="0"/>
              </a:p>
            </p:txBody>
          </p:sp>
          <p:cxnSp>
            <p:nvCxnSpPr>
              <p:cNvPr id="1059" name="Straight Connector 1058">
                <a:extLst>
                  <a:ext uri="{FF2B5EF4-FFF2-40B4-BE49-F238E27FC236}">
                    <a16:creationId xmlns:a16="http://schemas.microsoft.com/office/drawing/2014/main" id="{0F294B17-8B69-4DE8-8443-E9DE430165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11656" y="5644157"/>
                <a:ext cx="1326604" cy="826763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60" name="Straight Connector 1059">
                <a:extLst>
                  <a:ext uri="{FF2B5EF4-FFF2-40B4-BE49-F238E27FC236}">
                    <a16:creationId xmlns:a16="http://schemas.microsoft.com/office/drawing/2014/main" id="{B6803F81-FEE3-40B9-8021-BA4454C5C9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00366" y="5060276"/>
                <a:ext cx="0" cy="1386244"/>
              </a:xfrm>
              <a:prstGeom prst="line">
                <a:avLst/>
              </a:prstGeom>
              <a:ln w="19050" cap="sq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E7679D80-E8A7-43CB-82F5-ACDE8F4B7AAC}"/>
                  </a:ext>
                </a:extLst>
              </p:cNvPr>
              <p:cNvGrpSpPr/>
              <p:nvPr/>
            </p:nvGrpSpPr>
            <p:grpSpPr>
              <a:xfrm>
                <a:off x="3550072" y="4371406"/>
                <a:ext cx="3752738" cy="2636278"/>
                <a:chOff x="3519130" y="4371406"/>
                <a:chExt cx="3752738" cy="2636278"/>
              </a:xfrm>
            </p:grpSpPr>
            <p:sp>
              <p:nvSpPr>
                <p:cNvPr id="1072" name="Oval 1071">
                  <a:extLst>
                    <a:ext uri="{FF2B5EF4-FFF2-40B4-BE49-F238E27FC236}">
                      <a16:creationId xmlns:a16="http://schemas.microsoft.com/office/drawing/2014/main" id="{7BE89B88-BF88-416B-B472-DDF863A3C39E}"/>
                    </a:ext>
                  </a:extLst>
                </p:cNvPr>
                <p:cNvSpPr/>
                <p:nvPr/>
              </p:nvSpPr>
              <p:spPr>
                <a:xfrm>
                  <a:off x="3519130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3" name="Oval 1072">
                  <a:extLst>
                    <a:ext uri="{FF2B5EF4-FFF2-40B4-BE49-F238E27FC236}">
                      <a16:creationId xmlns:a16="http://schemas.microsoft.com/office/drawing/2014/main" id="{AE99BA46-9866-4F5F-8795-2C50CF509F2C}"/>
                    </a:ext>
                  </a:extLst>
                </p:cNvPr>
                <p:cNvSpPr/>
                <p:nvPr/>
              </p:nvSpPr>
              <p:spPr>
                <a:xfrm>
                  <a:off x="4866928" y="506027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4" name="Oval 1073">
                  <a:extLst>
                    <a:ext uri="{FF2B5EF4-FFF2-40B4-BE49-F238E27FC236}">
                      <a16:creationId xmlns:a16="http://schemas.microsoft.com/office/drawing/2014/main" id="{1D65918B-BC0D-42D8-9FC0-6E40A07C54F8}"/>
                    </a:ext>
                  </a:extLst>
                </p:cNvPr>
                <p:cNvSpPr/>
                <p:nvPr/>
              </p:nvSpPr>
              <p:spPr>
                <a:xfrm>
                  <a:off x="6149541" y="4371406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75" name="Oval 1074">
                  <a:extLst>
                    <a:ext uri="{FF2B5EF4-FFF2-40B4-BE49-F238E27FC236}">
                      <a16:creationId xmlns:a16="http://schemas.microsoft.com/office/drawing/2014/main" id="{64693E27-AC75-43CE-9767-31D2265E93C0}"/>
                    </a:ext>
                  </a:extLst>
                </p:cNvPr>
                <p:cNvSpPr/>
                <p:nvPr/>
              </p:nvSpPr>
              <p:spPr>
                <a:xfrm>
                  <a:off x="6139203" y="5885357"/>
                  <a:ext cx="1122327" cy="1122327"/>
                </a:xfrm>
                <a:prstGeom prst="ellipse">
                  <a:avLst/>
                </a:prstGeom>
                <a:solidFill>
                  <a:schemeClr val="accent5"/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GB" sz="11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7D854E29-DE5B-4D23-A7F4-089805F4B407}"/>
                  </a:ext>
                </a:extLst>
              </p:cNvPr>
              <p:cNvSpPr/>
              <p:nvPr/>
            </p:nvSpPr>
            <p:spPr>
              <a:xfrm>
                <a:off x="12631887" y="400257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19C12530-ADAE-42F3-BF96-6E2F797FFA21}"/>
                  </a:ext>
                </a:extLst>
              </p:cNvPr>
              <p:cNvSpPr/>
              <p:nvPr/>
            </p:nvSpPr>
            <p:spPr>
              <a:xfrm>
                <a:off x="13302559" y="409789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AD7F837C-BDAC-4356-ACFD-D5435ED1C8BC}"/>
                  </a:ext>
                </a:extLst>
              </p:cNvPr>
              <p:cNvSpPr/>
              <p:nvPr/>
            </p:nvSpPr>
            <p:spPr>
              <a:xfrm>
                <a:off x="13833448" y="4705864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199E57B7-A7E3-41F8-BB3C-E75DC038F11C}"/>
                  </a:ext>
                </a:extLst>
              </p:cNvPr>
              <p:cNvSpPr/>
              <p:nvPr/>
            </p:nvSpPr>
            <p:spPr>
              <a:xfrm>
                <a:off x="11713918" y="6655528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6" name="Oval 1065">
                <a:extLst>
                  <a:ext uri="{FF2B5EF4-FFF2-40B4-BE49-F238E27FC236}">
                    <a16:creationId xmlns:a16="http://schemas.microsoft.com/office/drawing/2014/main" id="{C0C115DF-6D28-4603-903A-065A4F27245C}"/>
                  </a:ext>
                </a:extLst>
              </p:cNvPr>
              <p:cNvSpPr/>
              <p:nvPr/>
            </p:nvSpPr>
            <p:spPr>
              <a:xfrm>
                <a:off x="12312016" y="6821733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7" name="Oval 1066">
                <a:extLst>
                  <a:ext uri="{FF2B5EF4-FFF2-40B4-BE49-F238E27FC236}">
                    <a16:creationId xmlns:a16="http://schemas.microsoft.com/office/drawing/2014/main" id="{A2A8E2DC-8965-4DB3-B9E3-3CB8F09EA653}"/>
                  </a:ext>
                </a:extLst>
              </p:cNvPr>
              <p:cNvSpPr/>
              <p:nvPr/>
            </p:nvSpPr>
            <p:spPr>
              <a:xfrm>
                <a:off x="14079125" y="5451739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8" name="Oval 1067">
                <a:extLst>
                  <a:ext uri="{FF2B5EF4-FFF2-40B4-BE49-F238E27FC236}">
                    <a16:creationId xmlns:a16="http://schemas.microsoft.com/office/drawing/2014/main" id="{1F91E05F-AEEA-4931-A23F-17FF2141927F}"/>
                  </a:ext>
                </a:extLst>
              </p:cNvPr>
              <p:cNvSpPr/>
              <p:nvPr/>
            </p:nvSpPr>
            <p:spPr>
              <a:xfrm>
                <a:off x="11997786" y="4139326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9" name="Oval 1068">
                <a:extLst>
                  <a:ext uri="{FF2B5EF4-FFF2-40B4-BE49-F238E27FC236}">
                    <a16:creationId xmlns:a16="http://schemas.microsoft.com/office/drawing/2014/main" id="{F7905202-7472-4C01-A9F2-01AF9049F6CC}"/>
                  </a:ext>
                </a:extLst>
              </p:cNvPr>
              <p:cNvSpPr/>
              <p:nvPr/>
            </p:nvSpPr>
            <p:spPr>
              <a:xfrm>
                <a:off x="13939776" y="6017540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0" name="Oval 1069">
                <a:extLst>
                  <a:ext uri="{FF2B5EF4-FFF2-40B4-BE49-F238E27FC236}">
                    <a16:creationId xmlns:a16="http://schemas.microsoft.com/office/drawing/2014/main" id="{2C65D2E9-12CD-4C44-B667-48D56BA4A2F3}"/>
                  </a:ext>
                </a:extLst>
              </p:cNvPr>
              <p:cNvSpPr/>
              <p:nvPr/>
            </p:nvSpPr>
            <p:spPr>
              <a:xfrm>
                <a:off x="13659729" y="654606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1" name="Oval 1070">
                <a:extLst>
                  <a:ext uri="{FF2B5EF4-FFF2-40B4-BE49-F238E27FC236}">
                    <a16:creationId xmlns:a16="http://schemas.microsoft.com/office/drawing/2014/main" id="{27EC1BE1-5AFB-421A-A333-18202096FE8F}"/>
                  </a:ext>
                </a:extLst>
              </p:cNvPr>
              <p:cNvSpPr/>
              <p:nvPr/>
            </p:nvSpPr>
            <p:spPr>
              <a:xfrm>
                <a:off x="12988979" y="6829431"/>
                <a:ext cx="273510" cy="273510"/>
              </a:xfrm>
              <a:prstGeom prst="ellipse">
                <a:avLst/>
              </a:prstGeom>
              <a:solidFill>
                <a:schemeClr val="accent4"/>
              </a:solidFill>
              <a:ln w="19050">
                <a:solidFill>
                  <a:schemeClr val="accent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600" b="1" dirty="0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29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829">
            <a:extLst>
              <a:ext uri="{FF2B5EF4-FFF2-40B4-BE49-F238E27FC236}">
                <a16:creationId xmlns:a16="http://schemas.microsoft.com/office/drawing/2014/main" id="{0852FBD9-D095-4BFD-A70E-7E47B693491E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51779" y="1203707"/>
            <a:ext cx="14326842" cy="582218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892E5E1-065C-405B-AB81-619916C4342C}"/>
              </a:ext>
            </a:extLst>
          </p:cNvPr>
          <p:cNvCxnSpPr/>
          <p:nvPr/>
        </p:nvCxnSpPr>
        <p:spPr>
          <a:xfrm flipV="1">
            <a:off x="1432806" y="1521473"/>
            <a:ext cx="3589083" cy="30155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06C7FF9B-FBCF-40BB-86F1-FEB09435D92C}"/>
              </a:ext>
            </a:extLst>
          </p:cNvPr>
          <p:cNvCxnSpPr>
            <a:cxnSpLocks/>
          </p:cNvCxnSpPr>
          <p:nvPr/>
        </p:nvCxnSpPr>
        <p:spPr>
          <a:xfrm flipH="1" flipV="1">
            <a:off x="5021889" y="1532177"/>
            <a:ext cx="1203256" cy="10762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B03E3B9-F77D-4B12-95EF-35B151F65185}"/>
              </a:ext>
            </a:extLst>
          </p:cNvPr>
          <p:cNvCxnSpPr>
            <a:cxnSpLocks/>
          </p:cNvCxnSpPr>
          <p:nvPr/>
        </p:nvCxnSpPr>
        <p:spPr>
          <a:xfrm flipH="1" flipV="1">
            <a:off x="5021890" y="1542881"/>
            <a:ext cx="4043002" cy="12937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80D95616-1A18-45E1-B3D9-1CC94FB58DEC}"/>
              </a:ext>
            </a:extLst>
          </p:cNvPr>
          <p:cNvCxnSpPr>
            <a:cxnSpLocks/>
          </p:cNvCxnSpPr>
          <p:nvPr/>
        </p:nvCxnSpPr>
        <p:spPr>
          <a:xfrm flipH="1" flipV="1">
            <a:off x="5021892" y="1553587"/>
            <a:ext cx="3965909" cy="153760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38034D17-D12F-4FBF-B976-888FF972483D}"/>
              </a:ext>
            </a:extLst>
          </p:cNvPr>
          <p:cNvCxnSpPr>
            <a:cxnSpLocks/>
          </p:cNvCxnSpPr>
          <p:nvPr/>
        </p:nvCxnSpPr>
        <p:spPr>
          <a:xfrm flipV="1">
            <a:off x="1638023" y="2635620"/>
            <a:ext cx="804891" cy="113244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C0D8C8EE-3DB2-44BA-B24A-F0AE40A89A99}"/>
              </a:ext>
            </a:extLst>
          </p:cNvPr>
          <p:cNvCxnSpPr>
            <a:cxnSpLocks/>
          </p:cNvCxnSpPr>
          <p:nvPr/>
        </p:nvCxnSpPr>
        <p:spPr>
          <a:xfrm flipH="1" flipV="1">
            <a:off x="1432806" y="1848932"/>
            <a:ext cx="205217" cy="1919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C753AD42-4D3D-4F9C-9F6C-FB768E5FDF00}"/>
              </a:ext>
            </a:extLst>
          </p:cNvPr>
          <p:cNvCxnSpPr>
            <a:cxnSpLocks/>
          </p:cNvCxnSpPr>
          <p:nvPr/>
        </p:nvCxnSpPr>
        <p:spPr>
          <a:xfrm flipV="1">
            <a:off x="2340306" y="2608439"/>
            <a:ext cx="96804" cy="23952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46818D1A-279B-40B3-B7C8-FD01D88447F3}"/>
              </a:ext>
            </a:extLst>
          </p:cNvPr>
          <p:cNvCxnSpPr>
            <a:cxnSpLocks/>
          </p:cNvCxnSpPr>
          <p:nvPr/>
        </p:nvCxnSpPr>
        <p:spPr>
          <a:xfrm flipV="1">
            <a:off x="2343163" y="2576245"/>
            <a:ext cx="3881982" cy="24274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A63DB94D-E763-4069-A1AD-9B0D137D1B2E}"/>
              </a:ext>
            </a:extLst>
          </p:cNvPr>
          <p:cNvCxnSpPr>
            <a:cxnSpLocks/>
          </p:cNvCxnSpPr>
          <p:nvPr/>
        </p:nvCxnSpPr>
        <p:spPr>
          <a:xfrm flipV="1">
            <a:off x="5759660" y="2584193"/>
            <a:ext cx="486731" cy="107901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4" name="Straight Connector 933">
            <a:extLst>
              <a:ext uri="{FF2B5EF4-FFF2-40B4-BE49-F238E27FC236}">
                <a16:creationId xmlns:a16="http://schemas.microsoft.com/office/drawing/2014/main" id="{08ED328A-703A-4624-9DE5-70A8B231D34A}"/>
              </a:ext>
            </a:extLst>
          </p:cNvPr>
          <p:cNvCxnSpPr>
            <a:cxnSpLocks/>
          </p:cNvCxnSpPr>
          <p:nvPr/>
        </p:nvCxnSpPr>
        <p:spPr>
          <a:xfrm flipH="1" flipV="1">
            <a:off x="8987801" y="3123702"/>
            <a:ext cx="19551" cy="154578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5" name="Straight Connector 934">
            <a:extLst>
              <a:ext uri="{FF2B5EF4-FFF2-40B4-BE49-F238E27FC236}">
                <a16:creationId xmlns:a16="http://schemas.microsoft.com/office/drawing/2014/main" id="{CF8BE14B-CBAC-4A36-8133-B04567C15969}"/>
              </a:ext>
            </a:extLst>
          </p:cNvPr>
          <p:cNvCxnSpPr>
            <a:cxnSpLocks/>
          </p:cNvCxnSpPr>
          <p:nvPr/>
        </p:nvCxnSpPr>
        <p:spPr>
          <a:xfrm flipH="1" flipV="1">
            <a:off x="9085312" y="1672253"/>
            <a:ext cx="3348424" cy="79498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6" name="Straight Connector 935">
            <a:extLst>
              <a:ext uri="{FF2B5EF4-FFF2-40B4-BE49-F238E27FC236}">
                <a16:creationId xmlns:a16="http://schemas.microsoft.com/office/drawing/2014/main" id="{5410D87B-A85E-4542-BB77-7F6CABC6B864}"/>
              </a:ext>
            </a:extLst>
          </p:cNvPr>
          <p:cNvCxnSpPr>
            <a:cxnSpLocks/>
          </p:cNvCxnSpPr>
          <p:nvPr/>
        </p:nvCxnSpPr>
        <p:spPr>
          <a:xfrm flipH="1" flipV="1">
            <a:off x="9093662" y="1739742"/>
            <a:ext cx="3178367" cy="2117326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7" name="Straight Connector 936">
            <a:extLst>
              <a:ext uri="{FF2B5EF4-FFF2-40B4-BE49-F238E27FC236}">
                <a16:creationId xmlns:a16="http://schemas.microsoft.com/office/drawing/2014/main" id="{5F027C82-1250-49CB-8DCF-39091FC84859}"/>
              </a:ext>
            </a:extLst>
          </p:cNvPr>
          <p:cNvCxnSpPr>
            <a:cxnSpLocks/>
          </p:cNvCxnSpPr>
          <p:nvPr/>
        </p:nvCxnSpPr>
        <p:spPr>
          <a:xfrm flipH="1" flipV="1">
            <a:off x="12243259" y="3768060"/>
            <a:ext cx="859144" cy="126159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8" name="Straight Connector 937">
            <a:extLst>
              <a:ext uri="{FF2B5EF4-FFF2-40B4-BE49-F238E27FC236}">
                <a16:creationId xmlns:a16="http://schemas.microsoft.com/office/drawing/2014/main" id="{574B0C95-054A-4FDE-A42A-3AD889ABAE92}"/>
              </a:ext>
            </a:extLst>
          </p:cNvPr>
          <p:cNvCxnSpPr>
            <a:cxnSpLocks/>
          </p:cNvCxnSpPr>
          <p:nvPr/>
        </p:nvCxnSpPr>
        <p:spPr>
          <a:xfrm flipH="1" flipV="1">
            <a:off x="12417636" y="2467242"/>
            <a:ext cx="700432" cy="256020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9" name="Straight Connector 938">
            <a:extLst>
              <a:ext uri="{FF2B5EF4-FFF2-40B4-BE49-F238E27FC236}">
                <a16:creationId xmlns:a16="http://schemas.microsoft.com/office/drawing/2014/main" id="{A3F3DD7C-5FC8-4743-AB6A-3F0C9F562D18}"/>
              </a:ext>
            </a:extLst>
          </p:cNvPr>
          <p:cNvCxnSpPr>
            <a:cxnSpLocks/>
          </p:cNvCxnSpPr>
          <p:nvPr/>
        </p:nvCxnSpPr>
        <p:spPr>
          <a:xfrm flipV="1">
            <a:off x="12261295" y="2467241"/>
            <a:ext cx="135920" cy="128010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0" name="Straight Connector 939">
            <a:extLst>
              <a:ext uri="{FF2B5EF4-FFF2-40B4-BE49-F238E27FC236}">
                <a16:creationId xmlns:a16="http://schemas.microsoft.com/office/drawing/2014/main" id="{6E456EC7-52BD-48A6-B3AE-F081D8DA877B}"/>
              </a:ext>
            </a:extLst>
          </p:cNvPr>
          <p:cNvCxnSpPr>
            <a:cxnSpLocks/>
          </p:cNvCxnSpPr>
          <p:nvPr/>
        </p:nvCxnSpPr>
        <p:spPr>
          <a:xfrm flipV="1">
            <a:off x="9995972" y="3789960"/>
            <a:ext cx="2242608" cy="1731985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1" name="Straight Connector 940">
            <a:extLst>
              <a:ext uri="{FF2B5EF4-FFF2-40B4-BE49-F238E27FC236}">
                <a16:creationId xmlns:a16="http://schemas.microsoft.com/office/drawing/2014/main" id="{1AB9F253-44B0-4698-99D6-ABF1D955A22C}"/>
              </a:ext>
            </a:extLst>
          </p:cNvPr>
          <p:cNvCxnSpPr>
            <a:cxnSpLocks/>
          </p:cNvCxnSpPr>
          <p:nvPr/>
        </p:nvCxnSpPr>
        <p:spPr>
          <a:xfrm flipV="1">
            <a:off x="9939701" y="5040568"/>
            <a:ext cx="3130712" cy="48137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2" name="Straight Connector 941">
            <a:extLst>
              <a:ext uri="{FF2B5EF4-FFF2-40B4-BE49-F238E27FC236}">
                <a16:creationId xmlns:a16="http://schemas.microsoft.com/office/drawing/2014/main" id="{99C2099A-B44F-497F-B7A2-793935C7AF3C}"/>
              </a:ext>
            </a:extLst>
          </p:cNvPr>
          <p:cNvCxnSpPr>
            <a:cxnSpLocks/>
          </p:cNvCxnSpPr>
          <p:nvPr/>
        </p:nvCxnSpPr>
        <p:spPr>
          <a:xfrm flipV="1">
            <a:off x="10367622" y="5040568"/>
            <a:ext cx="2702791" cy="158337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3" name="Straight Connector 942">
            <a:extLst>
              <a:ext uri="{FF2B5EF4-FFF2-40B4-BE49-F238E27FC236}">
                <a16:creationId xmlns:a16="http://schemas.microsoft.com/office/drawing/2014/main" id="{D31B7763-C156-4CAE-A663-902DDAFF461F}"/>
              </a:ext>
            </a:extLst>
          </p:cNvPr>
          <p:cNvCxnSpPr>
            <a:cxnSpLocks/>
          </p:cNvCxnSpPr>
          <p:nvPr/>
        </p:nvCxnSpPr>
        <p:spPr>
          <a:xfrm flipV="1">
            <a:off x="10311351" y="6524096"/>
            <a:ext cx="2886534" cy="10675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4" name="Straight Connector 943">
            <a:extLst>
              <a:ext uri="{FF2B5EF4-FFF2-40B4-BE49-F238E27FC236}">
                <a16:creationId xmlns:a16="http://schemas.microsoft.com/office/drawing/2014/main" id="{041FFF1C-DBFD-4C9E-943C-46A96B86B934}"/>
              </a:ext>
            </a:extLst>
          </p:cNvPr>
          <p:cNvCxnSpPr>
            <a:cxnSpLocks/>
          </p:cNvCxnSpPr>
          <p:nvPr/>
        </p:nvCxnSpPr>
        <p:spPr>
          <a:xfrm>
            <a:off x="13118068" y="5003674"/>
            <a:ext cx="79817" cy="152042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5" name="Straight Connector 944">
            <a:extLst>
              <a:ext uri="{FF2B5EF4-FFF2-40B4-BE49-F238E27FC236}">
                <a16:creationId xmlns:a16="http://schemas.microsoft.com/office/drawing/2014/main" id="{B65A7B14-0F50-41FB-A681-0EC91026A0DC}"/>
              </a:ext>
            </a:extLst>
          </p:cNvPr>
          <p:cNvCxnSpPr>
            <a:cxnSpLocks/>
          </p:cNvCxnSpPr>
          <p:nvPr/>
        </p:nvCxnSpPr>
        <p:spPr>
          <a:xfrm>
            <a:off x="9926913" y="5532862"/>
            <a:ext cx="408265" cy="1044613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6DA2B318-A724-4B24-908D-826D0CF72571}"/>
              </a:ext>
            </a:extLst>
          </p:cNvPr>
          <p:cNvCxnSpPr>
            <a:cxnSpLocks/>
          </p:cNvCxnSpPr>
          <p:nvPr/>
        </p:nvCxnSpPr>
        <p:spPr>
          <a:xfrm flipH="1" flipV="1">
            <a:off x="8995557" y="3102112"/>
            <a:ext cx="984705" cy="236772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9" name="Straight Connector 948">
            <a:extLst>
              <a:ext uri="{FF2B5EF4-FFF2-40B4-BE49-F238E27FC236}">
                <a16:creationId xmlns:a16="http://schemas.microsoft.com/office/drawing/2014/main" id="{FE115962-64A1-44CB-B7A3-2738547A8924}"/>
              </a:ext>
            </a:extLst>
          </p:cNvPr>
          <p:cNvCxnSpPr>
            <a:cxnSpLocks/>
          </p:cNvCxnSpPr>
          <p:nvPr/>
        </p:nvCxnSpPr>
        <p:spPr>
          <a:xfrm flipV="1">
            <a:off x="8968476" y="1688732"/>
            <a:ext cx="80315" cy="140246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2" name="Straight Connector 951">
            <a:extLst>
              <a:ext uri="{FF2B5EF4-FFF2-40B4-BE49-F238E27FC236}">
                <a16:creationId xmlns:a16="http://schemas.microsoft.com/office/drawing/2014/main" id="{6CAD62A5-5D64-4182-92B0-0A45F4CEF74C}"/>
              </a:ext>
            </a:extLst>
          </p:cNvPr>
          <p:cNvCxnSpPr>
            <a:cxnSpLocks/>
          </p:cNvCxnSpPr>
          <p:nvPr/>
        </p:nvCxnSpPr>
        <p:spPr>
          <a:xfrm flipH="1">
            <a:off x="6131310" y="1672252"/>
            <a:ext cx="2903635" cy="3127509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5" name="Straight Connector 954">
            <a:extLst>
              <a:ext uri="{FF2B5EF4-FFF2-40B4-BE49-F238E27FC236}">
                <a16:creationId xmlns:a16="http://schemas.microsoft.com/office/drawing/2014/main" id="{8C60BC78-45E8-49B7-A3D7-6D58AE349ECF}"/>
              </a:ext>
            </a:extLst>
          </p:cNvPr>
          <p:cNvCxnSpPr>
            <a:cxnSpLocks/>
          </p:cNvCxnSpPr>
          <p:nvPr/>
        </p:nvCxnSpPr>
        <p:spPr>
          <a:xfrm flipH="1">
            <a:off x="5808651" y="1679050"/>
            <a:ext cx="3249998" cy="199422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9" name="Straight Connector 958">
            <a:extLst>
              <a:ext uri="{FF2B5EF4-FFF2-40B4-BE49-F238E27FC236}">
                <a16:creationId xmlns:a16="http://schemas.microsoft.com/office/drawing/2014/main" id="{B18836EB-FE52-41C7-9B03-FDFE2A62C2D0}"/>
              </a:ext>
            </a:extLst>
          </p:cNvPr>
          <p:cNvCxnSpPr>
            <a:cxnSpLocks/>
          </p:cNvCxnSpPr>
          <p:nvPr/>
        </p:nvCxnSpPr>
        <p:spPr>
          <a:xfrm flipV="1">
            <a:off x="6938312" y="4632025"/>
            <a:ext cx="2049489" cy="2008472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2" name="Straight Connector 961">
            <a:extLst>
              <a:ext uri="{FF2B5EF4-FFF2-40B4-BE49-F238E27FC236}">
                <a16:creationId xmlns:a16="http://schemas.microsoft.com/office/drawing/2014/main" id="{FE5561A9-F11F-4CC1-B0DB-C7E55EDC357D}"/>
              </a:ext>
            </a:extLst>
          </p:cNvPr>
          <p:cNvCxnSpPr>
            <a:cxnSpLocks/>
          </p:cNvCxnSpPr>
          <p:nvPr/>
        </p:nvCxnSpPr>
        <p:spPr>
          <a:xfrm flipH="1" flipV="1">
            <a:off x="6131310" y="4806560"/>
            <a:ext cx="807002" cy="1833937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5" name="Straight Connector 964">
            <a:extLst>
              <a:ext uri="{FF2B5EF4-FFF2-40B4-BE49-F238E27FC236}">
                <a16:creationId xmlns:a16="http://schemas.microsoft.com/office/drawing/2014/main" id="{074C3EDB-ADAA-444B-AD6F-BDA71912000D}"/>
              </a:ext>
            </a:extLst>
          </p:cNvPr>
          <p:cNvCxnSpPr>
            <a:cxnSpLocks/>
          </p:cNvCxnSpPr>
          <p:nvPr/>
        </p:nvCxnSpPr>
        <p:spPr>
          <a:xfrm flipH="1">
            <a:off x="4959848" y="4799761"/>
            <a:ext cx="1171462" cy="9571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8" name="Straight Connector 967">
            <a:extLst>
              <a:ext uri="{FF2B5EF4-FFF2-40B4-BE49-F238E27FC236}">
                <a16:creationId xmlns:a16="http://schemas.microsoft.com/office/drawing/2014/main" id="{FF1338EE-591B-41B0-959A-AB5BB07B36C9}"/>
              </a:ext>
            </a:extLst>
          </p:cNvPr>
          <p:cNvCxnSpPr>
            <a:cxnSpLocks/>
          </p:cNvCxnSpPr>
          <p:nvPr/>
        </p:nvCxnSpPr>
        <p:spPr>
          <a:xfrm flipH="1">
            <a:off x="1916013" y="5727525"/>
            <a:ext cx="3078485" cy="946730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1" name="Straight Connector 970">
            <a:extLst>
              <a:ext uri="{FF2B5EF4-FFF2-40B4-BE49-F238E27FC236}">
                <a16:creationId xmlns:a16="http://schemas.microsoft.com/office/drawing/2014/main" id="{D10327DE-0633-4383-A856-F832C9BB53CD}"/>
              </a:ext>
            </a:extLst>
          </p:cNvPr>
          <p:cNvCxnSpPr>
            <a:cxnSpLocks/>
          </p:cNvCxnSpPr>
          <p:nvPr/>
        </p:nvCxnSpPr>
        <p:spPr>
          <a:xfrm flipV="1">
            <a:off x="1950664" y="5040568"/>
            <a:ext cx="392499" cy="1614721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3" name="Straight Connector 972">
            <a:extLst>
              <a:ext uri="{FF2B5EF4-FFF2-40B4-BE49-F238E27FC236}">
                <a16:creationId xmlns:a16="http://schemas.microsoft.com/office/drawing/2014/main" id="{46A8FF25-EEBD-4F8D-9D30-3362E64456E1}"/>
              </a:ext>
            </a:extLst>
          </p:cNvPr>
          <p:cNvCxnSpPr>
            <a:cxnSpLocks/>
          </p:cNvCxnSpPr>
          <p:nvPr/>
        </p:nvCxnSpPr>
        <p:spPr>
          <a:xfrm flipV="1">
            <a:off x="1877073" y="3673277"/>
            <a:ext cx="3896658" cy="3018904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4" name="Oval 863">
            <a:extLst>
              <a:ext uri="{FF2B5EF4-FFF2-40B4-BE49-F238E27FC236}">
                <a16:creationId xmlns:a16="http://schemas.microsoft.com/office/drawing/2014/main" id="{656220FC-9673-4791-A5AD-2962C4F4096C}"/>
              </a:ext>
            </a:extLst>
          </p:cNvPr>
          <p:cNvSpPr/>
          <p:nvPr/>
        </p:nvSpPr>
        <p:spPr>
          <a:xfrm>
            <a:off x="1061156" y="14513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5" name="Oval 864">
            <a:extLst>
              <a:ext uri="{FF2B5EF4-FFF2-40B4-BE49-F238E27FC236}">
                <a16:creationId xmlns:a16="http://schemas.microsoft.com/office/drawing/2014/main" id="{B05CD7DF-BD0D-487F-9081-440401DAB20F}"/>
              </a:ext>
            </a:extLst>
          </p:cNvPr>
          <p:cNvSpPr/>
          <p:nvPr/>
        </p:nvSpPr>
        <p:spPr>
          <a:xfrm>
            <a:off x="2082603" y="227685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6" name="Oval 865">
            <a:extLst>
              <a:ext uri="{FF2B5EF4-FFF2-40B4-BE49-F238E27FC236}">
                <a16:creationId xmlns:a16="http://schemas.microsoft.com/office/drawing/2014/main" id="{2A71D65B-9E58-4105-8F02-DD0F733585F2}"/>
              </a:ext>
            </a:extLst>
          </p:cNvPr>
          <p:cNvSpPr/>
          <p:nvPr/>
        </p:nvSpPr>
        <p:spPr>
          <a:xfrm>
            <a:off x="1266373" y="338248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7" name="Oval 866">
            <a:extLst>
              <a:ext uri="{FF2B5EF4-FFF2-40B4-BE49-F238E27FC236}">
                <a16:creationId xmlns:a16="http://schemas.microsoft.com/office/drawing/2014/main" id="{A9915106-EE06-4BA4-88EE-B10136F8CA03}"/>
              </a:ext>
            </a:extLst>
          </p:cNvPr>
          <p:cNvSpPr/>
          <p:nvPr/>
        </p:nvSpPr>
        <p:spPr>
          <a:xfrm>
            <a:off x="1979483" y="465579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0" name="Oval 909">
            <a:extLst>
              <a:ext uri="{FF2B5EF4-FFF2-40B4-BE49-F238E27FC236}">
                <a16:creationId xmlns:a16="http://schemas.microsoft.com/office/drawing/2014/main" id="{50286384-EB76-400C-9FAE-C5520F37F0C9}"/>
              </a:ext>
            </a:extLst>
          </p:cNvPr>
          <p:cNvSpPr/>
          <p:nvPr/>
        </p:nvSpPr>
        <p:spPr>
          <a:xfrm>
            <a:off x="1544363" y="630260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" name="Oval 910">
            <a:extLst>
              <a:ext uri="{FF2B5EF4-FFF2-40B4-BE49-F238E27FC236}">
                <a16:creationId xmlns:a16="http://schemas.microsoft.com/office/drawing/2014/main" id="{4750B1A3-2F34-472D-AF95-247A8463D8AE}"/>
              </a:ext>
            </a:extLst>
          </p:cNvPr>
          <p:cNvSpPr/>
          <p:nvPr/>
        </p:nvSpPr>
        <p:spPr>
          <a:xfrm>
            <a:off x="4617709" y="535587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2" name="Oval 911">
            <a:extLst>
              <a:ext uri="{FF2B5EF4-FFF2-40B4-BE49-F238E27FC236}">
                <a16:creationId xmlns:a16="http://schemas.microsoft.com/office/drawing/2014/main" id="{85FE3431-8BF5-489B-A536-817D725066C1}"/>
              </a:ext>
            </a:extLst>
          </p:cNvPr>
          <p:cNvSpPr/>
          <p:nvPr/>
        </p:nvSpPr>
        <p:spPr>
          <a:xfrm>
            <a:off x="5853495" y="2236789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3" name="Oval 912">
            <a:extLst>
              <a:ext uri="{FF2B5EF4-FFF2-40B4-BE49-F238E27FC236}">
                <a16:creationId xmlns:a16="http://schemas.microsoft.com/office/drawing/2014/main" id="{183E9E20-3D7A-43BA-AFDE-630A45FAF5EA}"/>
              </a:ext>
            </a:extLst>
          </p:cNvPr>
          <p:cNvSpPr/>
          <p:nvPr/>
        </p:nvSpPr>
        <p:spPr>
          <a:xfrm>
            <a:off x="5759660" y="442811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4" name="Oval 913">
            <a:extLst>
              <a:ext uri="{FF2B5EF4-FFF2-40B4-BE49-F238E27FC236}">
                <a16:creationId xmlns:a16="http://schemas.microsoft.com/office/drawing/2014/main" id="{E9770BE1-340E-4A68-80D7-6A3A018F8160}"/>
              </a:ext>
            </a:extLst>
          </p:cNvPr>
          <p:cNvSpPr/>
          <p:nvPr/>
        </p:nvSpPr>
        <p:spPr>
          <a:xfrm>
            <a:off x="5408254" y="3301627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5" name="Oval 914">
            <a:extLst>
              <a:ext uri="{FF2B5EF4-FFF2-40B4-BE49-F238E27FC236}">
                <a16:creationId xmlns:a16="http://schemas.microsoft.com/office/drawing/2014/main" id="{9180D279-579A-4C97-B40E-FB5B11391754}"/>
              </a:ext>
            </a:extLst>
          </p:cNvPr>
          <p:cNvSpPr/>
          <p:nvPr/>
        </p:nvSpPr>
        <p:spPr>
          <a:xfrm>
            <a:off x="8693242" y="131708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6" name="Oval 915">
            <a:extLst>
              <a:ext uri="{FF2B5EF4-FFF2-40B4-BE49-F238E27FC236}">
                <a16:creationId xmlns:a16="http://schemas.microsoft.com/office/drawing/2014/main" id="{443EE924-95A0-4D9E-B7F1-8D1C1439C3D6}"/>
              </a:ext>
            </a:extLst>
          </p:cNvPr>
          <p:cNvSpPr/>
          <p:nvPr/>
        </p:nvSpPr>
        <p:spPr>
          <a:xfrm>
            <a:off x="12045985" y="20955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7" name="Oval 916">
            <a:extLst>
              <a:ext uri="{FF2B5EF4-FFF2-40B4-BE49-F238E27FC236}">
                <a16:creationId xmlns:a16="http://schemas.microsoft.com/office/drawing/2014/main" id="{E57315EA-C42D-439E-B2DF-8136BE129AC0}"/>
              </a:ext>
            </a:extLst>
          </p:cNvPr>
          <p:cNvSpPr/>
          <p:nvPr/>
        </p:nvSpPr>
        <p:spPr>
          <a:xfrm>
            <a:off x="11871609" y="339641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8" name="Oval 917">
            <a:extLst>
              <a:ext uri="{FF2B5EF4-FFF2-40B4-BE49-F238E27FC236}">
                <a16:creationId xmlns:a16="http://schemas.microsoft.com/office/drawing/2014/main" id="{C57CFB81-7906-4053-9635-E52B3C69A0A9}"/>
              </a:ext>
            </a:extLst>
          </p:cNvPr>
          <p:cNvSpPr/>
          <p:nvPr/>
        </p:nvSpPr>
        <p:spPr>
          <a:xfrm>
            <a:off x="8618608" y="4286350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9" name="Oval 918">
            <a:extLst>
              <a:ext uri="{FF2B5EF4-FFF2-40B4-BE49-F238E27FC236}">
                <a16:creationId xmlns:a16="http://schemas.microsoft.com/office/drawing/2014/main" id="{9B39FEDC-822C-400A-8DA7-114B5C9A44E8}"/>
              </a:ext>
            </a:extLst>
          </p:cNvPr>
          <p:cNvSpPr/>
          <p:nvPr/>
        </p:nvSpPr>
        <p:spPr>
          <a:xfrm>
            <a:off x="8602898" y="2730462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0" name="Oval 919">
            <a:extLst>
              <a:ext uri="{FF2B5EF4-FFF2-40B4-BE49-F238E27FC236}">
                <a16:creationId xmlns:a16="http://schemas.microsoft.com/office/drawing/2014/main" id="{395FB9D4-4AC5-4CF4-9AA2-22C09BF327CE}"/>
              </a:ext>
            </a:extLst>
          </p:cNvPr>
          <p:cNvSpPr/>
          <p:nvPr/>
        </p:nvSpPr>
        <p:spPr>
          <a:xfrm>
            <a:off x="6588879" y="625920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1" name="Oval 920">
            <a:extLst>
              <a:ext uri="{FF2B5EF4-FFF2-40B4-BE49-F238E27FC236}">
                <a16:creationId xmlns:a16="http://schemas.microsoft.com/office/drawing/2014/main" id="{F1EAC484-360B-4B6A-8D4A-CCCC84D9B808}"/>
              </a:ext>
            </a:extLst>
          </p:cNvPr>
          <p:cNvSpPr/>
          <p:nvPr/>
        </p:nvSpPr>
        <p:spPr>
          <a:xfrm>
            <a:off x="9995972" y="6252291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2" name="Oval 921">
            <a:extLst>
              <a:ext uri="{FF2B5EF4-FFF2-40B4-BE49-F238E27FC236}">
                <a16:creationId xmlns:a16="http://schemas.microsoft.com/office/drawing/2014/main" id="{6F977432-F473-46AA-929B-FC604DA4D118}"/>
              </a:ext>
            </a:extLst>
          </p:cNvPr>
          <p:cNvSpPr/>
          <p:nvPr/>
        </p:nvSpPr>
        <p:spPr>
          <a:xfrm>
            <a:off x="12826235" y="6152446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3" name="Oval 922">
            <a:extLst>
              <a:ext uri="{FF2B5EF4-FFF2-40B4-BE49-F238E27FC236}">
                <a16:creationId xmlns:a16="http://schemas.microsoft.com/office/drawing/2014/main" id="{16EBB82C-4623-4F40-8FE9-02443BD27F85}"/>
              </a:ext>
            </a:extLst>
          </p:cNvPr>
          <p:cNvSpPr/>
          <p:nvPr/>
        </p:nvSpPr>
        <p:spPr>
          <a:xfrm>
            <a:off x="12730752" y="4632025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4" name="Oval 923">
            <a:extLst>
              <a:ext uri="{FF2B5EF4-FFF2-40B4-BE49-F238E27FC236}">
                <a16:creationId xmlns:a16="http://schemas.microsoft.com/office/drawing/2014/main" id="{4A516FDD-95C7-46A3-AA01-7478DD99977E}"/>
              </a:ext>
            </a:extLst>
          </p:cNvPr>
          <p:cNvSpPr/>
          <p:nvPr/>
        </p:nvSpPr>
        <p:spPr>
          <a:xfrm>
            <a:off x="9568051" y="5150294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778C0266-B7D0-4AE7-A4AC-E1C32F20DE4E}"/>
              </a:ext>
            </a:extLst>
          </p:cNvPr>
          <p:cNvCxnSpPr>
            <a:cxnSpLocks/>
          </p:cNvCxnSpPr>
          <p:nvPr/>
        </p:nvCxnSpPr>
        <p:spPr>
          <a:xfrm flipV="1">
            <a:off x="2442914" y="1564292"/>
            <a:ext cx="2578979" cy="1071328"/>
          </a:xfrm>
          <a:prstGeom prst="line">
            <a:avLst/>
          </a:prstGeom>
          <a:ln w="38100" cap="sq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8626FB49-6560-4B21-B2CB-4316F6A904EA}"/>
              </a:ext>
            </a:extLst>
          </p:cNvPr>
          <p:cNvSpPr/>
          <p:nvPr/>
        </p:nvSpPr>
        <p:spPr>
          <a:xfrm>
            <a:off x="4650239" y="1149823"/>
            <a:ext cx="743300" cy="7433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3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</p:spPr>
        <p:txBody>
          <a:bodyPr/>
          <a:lstStyle/>
          <a:p>
            <a:r>
              <a:rPr lang="en-GB" dirty="0"/>
              <a:t>Digital Explor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96B4E7A-AAA2-4AE0-A1EE-0411397663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69" y="3128242"/>
            <a:ext cx="3333982" cy="19170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6" name="Content Placeholder 7"/>
          <p:cNvPicPr>
            <a:picLocks noChangeAspect="1"/>
          </p:cNvPicPr>
          <p:nvPr/>
        </p:nvPicPr>
        <p:blipFill rotWithShape="1">
          <a:blip r:embed="rId3"/>
          <a:srcRect t="40548" b="41931"/>
          <a:stretch/>
        </p:blipFill>
        <p:spPr>
          <a:xfrm>
            <a:off x="1864471" y="6060388"/>
            <a:ext cx="10901456" cy="105495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224123" y="6959976"/>
            <a:ext cx="1871025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GB" sz="1200" dirty="0"/>
              <a:t>DXC Knowledge Grap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62A70A-91F0-49C4-B29E-0D0FB50E7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4471" y="3128239"/>
            <a:ext cx="3333990" cy="191704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5216681" y="4127085"/>
            <a:ext cx="447358" cy="2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D38D053-16AC-4E87-BF1F-C42CA8887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5461" y="3135002"/>
            <a:ext cx="3310469" cy="19035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4" name="Straight Connector 23"/>
          <p:cNvCxnSpPr>
            <a:cxnSpLocks/>
          </p:cNvCxnSpPr>
          <p:nvPr/>
        </p:nvCxnSpPr>
        <p:spPr>
          <a:xfrm flipV="1">
            <a:off x="9003387" y="4123187"/>
            <a:ext cx="452074" cy="1"/>
          </a:xfrm>
          <a:prstGeom prst="line">
            <a:avLst/>
          </a:prstGeom>
          <a:ln w="7620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59E2360-291C-4D93-A678-D01351E9B6BD}"/>
              </a:ext>
            </a:extLst>
          </p:cNvPr>
          <p:cNvSpPr/>
          <p:nvPr/>
        </p:nvSpPr>
        <p:spPr>
          <a:xfrm>
            <a:off x="1836591" y="2075156"/>
            <a:ext cx="10929339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accent3"/>
                </a:solidFill>
              </a:rPr>
              <a:t>Digital Explorer | Stori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104CA70-A905-4AD9-ACB0-6CA81A2186A8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3531466" y="2602632"/>
            <a:ext cx="0" cy="525607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22A786F-E78F-42BB-BBDC-30B76252B062}"/>
              </a:ext>
            </a:extLst>
          </p:cNvPr>
          <p:cNvCxnSpPr>
            <a:cxnSpLocks/>
            <a:stCxn id="31" idx="2"/>
            <a:endCxn id="30" idx="0"/>
          </p:cNvCxnSpPr>
          <p:nvPr/>
        </p:nvCxnSpPr>
        <p:spPr>
          <a:xfrm flipH="1">
            <a:off x="7301260" y="2602632"/>
            <a:ext cx="1" cy="52561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6CC7F60-55C0-4421-B882-FA3A87E938AD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11110696" y="2602632"/>
            <a:ext cx="0" cy="532370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4F4695-B8B7-4782-9E2E-9E9FB8A13371}"/>
              </a:ext>
            </a:extLst>
          </p:cNvPr>
          <p:cNvGrpSpPr/>
          <p:nvPr/>
        </p:nvGrpSpPr>
        <p:grpSpPr>
          <a:xfrm>
            <a:off x="2034115" y="4123187"/>
            <a:ext cx="2994701" cy="864096"/>
            <a:chOff x="0" y="4258816"/>
            <a:chExt cx="2994701" cy="86409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2EDDC5-E896-44E2-A65A-C423B2527D03}"/>
                </a:ext>
              </a:extLst>
            </p:cNvPr>
            <p:cNvSpPr/>
            <p:nvPr/>
          </p:nvSpPr>
          <p:spPr>
            <a:xfrm>
              <a:off x="0" y="4258816"/>
              <a:ext cx="2994701" cy="864096"/>
            </a:xfrm>
            <a:prstGeom prst="rect">
              <a:avLst/>
            </a:prstGeom>
            <a:solidFill>
              <a:srgbClr val="FFFFFF">
                <a:alpha val="50196"/>
              </a:srgb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0B1AE06-204B-4BE5-8CBD-3012BAEE4FD0}"/>
                </a:ext>
              </a:extLst>
            </p:cNvPr>
            <p:cNvGrpSpPr/>
            <p:nvPr/>
          </p:nvGrpSpPr>
          <p:grpSpPr>
            <a:xfrm>
              <a:off x="154360" y="4348315"/>
              <a:ext cx="2685980" cy="685098"/>
              <a:chOff x="193372" y="4366987"/>
              <a:chExt cx="2685980" cy="68509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2052" y="4366987"/>
                <a:ext cx="2268621" cy="285972"/>
                <a:chOff x="1303196" y="4059783"/>
                <a:chExt cx="2787294" cy="351354"/>
              </a:xfrm>
            </p:grpSpPr>
            <p:sp>
              <p:nvSpPr>
                <p:cNvPr id="10" name="TextBox 9">
                  <a:hlinkClick r:id="rId6"/>
                </p:cNvPr>
                <p:cNvSpPr txBox="1"/>
                <p:nvPr/>
              </p:nvSpPr>
              <p:spPr>
                <a:xfrm>
                  <a:off x="1685891" y="4059783"/>
                  <a:ext cx="2404599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200" b="1" dirty="0">
                      <a:solidFill>
                        <a:schemeClr val="accent3"/>
                      </a:solidFill>
                    </a:rPr>
                    <a:t>Digital Explorer | Trends</a:t>
                  </a:r>
                </a:p>
              </p:txBody>
            </p:sp>
            <p:pic>
              <p:nvPicPr>
                <p:cNvPr id="11" name="Picture 10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303196" y="4077762"/>
                  <a:ext cx="352425" cy="333375"/>
                </a:xfrm>
                <a:prstGeom prst="rect">
                  <a:avLst/>
                </a:prstGeom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193372" y="4766113"/>
                <a:ext cx="2685980" cy="285972"/>
                <a:chOff x="5670472" y="4079523"/>
                <a:chExt cx="3300074" cy="3513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6078379" y="4079523"/>
                  <a:ext cx="2892167" cy="340329"/>
                </a:xfrm>
                <a:prstGeom prst="rect">
                  <a:avLst/>
                </a:prstGeom>
                <a:solidFill>
                  <a:schemeClr val="tx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800" b="1">
                      <a:solidFill>
                        <a:schemeClr val="accent3"/>
                      </a:solidFill>
                    </a:defRPr>
                  </a:lvl1pPr>
                </a:lstStyle>
                <a:p>
                  <a:r>
                    <a:rPr lang="en-GB" sz="1200" dirty="0"/>
                    <a:t>Digital Explorer | Workspaces</a:t>
                  </a:r>
                </a:p>
              </p:txBody>
            </p:sp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70472" y="4097502"/>
                  <a:ext cx="352425" cy="33337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43B26967-0DCE-44AC-8425-6BF15224FEE5}"/>
              </a:ext>
            </a:extLst>
          </p:cNvPr>
          <p:cNvSpPr/>
          <p:nvPr/>
        </p:nvSpPr>
        <p:spPr>
          <a:xfrm>
            <a:off x="5817849" y="4044669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38A555D-B275-4A12-BB23-0F37D85E72F5}"/>
              </a:ext>
            </a:extLst>
          </p:cNvPr>
          <p:cNvSpPr/>
          <p:nvPr/>
        </p:nvSpPr>
        <p:spPr>
          <a:xfrm>
            <a:off x="9613345" y="4033688"/>
            <a:ext cx="2994701" cy="86409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3DBA72-9C06-4726-9FFD-368097AA5C46}"/>
              </a:ext>
            </a:extLst>
          </p:cNvPr>
          <p:cNvGrpSpPr/>
          <p:nvPr/>
        </p:nvGrpSpPr>
        <p:grpSpPr>
          <a:xfrm>
            <a:off x="6101123" y="4333731"/>
            <a:ext cx="2428153" cy="285972"/>
            <a:chOff x="5670472" y="4079523"/>
            <a:chExt cx="2983300" cy="3513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3CC001-0438-43CE-80C7-A26ABB6E8777}"/>
                </a:ext>
              </a:extLst>
            </p:cNvPr>
            <p:cNvSpPr txBox="1"/>
            <p:nvPr/>
          </p:nvSpPr>
          <p:spPr>
            <a:xfrm>
              <a:off x="6078379" y="4079523"/>
              <a:ext cx="2575393" cy="340329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igital Explorer | Agendas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031454E-5673-4FE5-AE91-8BD6FF761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70472" y="4097502"/>
              <a:ext cx="352425" cy="333375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9886239" y="4322750"/>
            <a:ext cx="2448913" cy="285972"/>
            <a:chOff x="10700177" y="4138339"/>
            <a:chExt cx="3008806" cy="351354"/>
          </a:xfrm>
        </p:grpSpPr>
        <p:sp>
          <p:nvSpPr>
            <p:cNvPr id="16" name="TextBox 15"/>
            <p:cNvSpPr txBox="1"/>
            <p:nvPr/>
          </p:nvSpPr>
          <p:spPr>
            <a:xfrm>
              <a:off x="11059616" y="4138339"/>
              <a:ext cx="2649367" cy="34033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accent3"/>
                  </a:solidFill>
                </a:defRPr>
              </a:lvl1pPr>
            </a:lstStyle>
            <a:p>
              <a:r>
                <a:rPr lang="en-GB" sz="1200" dirty="0"/>
                <a:t>Digital Explorer | Solutions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00177" y="4156318"/>
              <a:ext cx="352425" cy="333375"/>
            </a:xfrm>
            <a:prstGeom prst="rect">
              <a:avLst/>
            </a:prstGeom>
          </p:spPr>
        </p:pic>
      </p:grpSp>
      <p:cxnSp>
        <p:nvCxnSpPr>
          <p:cNvPr id="44" name="Straight Connector 43"/>
          <p:cNvCxnSpPr>
            <a:cxnSpLocks/>
            <a:stCxn id="4" idx="2"/>
          </p:cNvCxnSpPr>
          <p:nvPr/>
        </p:nvCxnSpPr>
        <p:spPr>
          <a:xfrm flipH="1">
            <a:off x="3527274" y="5045283"/>
            <a:ext cx="4192" cy="996436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Rectangle: Rounded Corners 49"/>
          <p:cNvSpPr/>
          <p:nvPr/>
        </p:nvSpPr>
        <p:spPr>
          <a:xfrm>
            <a:off x="2095560" y="527976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Understand</a:t>
            </a:r>
          </a:p>
        </p:txBody>
      </p:sp>
      <p:cxnSp>
        <p:nvCxnSpPr>
          <p:cNvPr id="48" name="Straight Connector 47"/>
          <p:cNvCxnSpPr>
            <a:cxnSpLocks/>
            <a:stCxn id="45" idx="2"/>
          </p:cNvCxnSpPr>
          <p:nvPr/>
        </p:nvCxnSpPr>
        <p:spPr>
          <a:xfrm>
            <a:off x="11110696" y="4897784"/>
            <a:ext cx="0" cy="1162604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Straight Connector 46"/>
          <p:cNvCxnSpPr>
            <a:cxnSpLocks/>
            <a:stCxn id="43" idx="2"/>
            <a:endCxn id="26" idx="0"/>
          </p:cNvCxnSpPr>
          <p:nvPr/>
        </p:nvCxnSpPr>
        <p:spPr>
          <a:xfrm flipH="1">
            <a:off x="7315199" y="4908765"/>
            <a:ext cx="1" cy="1151623"/>
          </a:xfrm>
          <a:prstGeom prst="line">
            <a:avLst/>
          </a:prstGeom>
          <a:ln w="57150" cap="sq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Rectangle: Rounded Corners 51"/>
          <p:cNvSpPr/>
          <p:nvPr/>
        </p:nvSpPr>
        <p:spPr>
          <a:xfrm>
            <a:off x="9690893" y="527976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Deliver</a:t>
            </a:r>
          </a:p>
        </p:txBody>
      </p:sp>
      <p:sp>
        <p:nvSpPr>
          <p:cNvPr id="51" name="Rectangle: Rounded Corners 50"/>
          <p:cNvSpPr/>
          <p:nvPr/>
        </p:nvSpPr>
        <p:spPr>
          <a:xfrm>
            <a:off x="5865355" y="5279763"/>
            <a:ext cx="2871811" cy="527476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/>
              <a:t>Shape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7DE2E87-7B6E-4CE2-B2BC-FC9E25EADA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02504" y="426935"/>
            <a:ext cx="2797511" cy="1732707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39D2CC9-2839-4C5F-9157-FCCE1C64F3B1}"/>
              </a:ext>
            </a:extLst>
          </p:cNvPr>
          <p:cNvGrpSpPr/>
          <p:nvPr/>
        </p:nvGrpSpPr>
        <p:grpSpPr>
          <a:xfrm>
            <a:off x="1671829" y="56071"/>
            <a:ext cx="8213308" cy="5821770"/>
            <a:chOff x="1671829" y="56071"/>
            <a:chExt cx="8213308" cy="582177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6E360439-9A76-4843-893B-15C80FE4D53C}"/>
                </a:ext>
              </a:extLst>
            </p:cNvPr>
            <p:cNvSpPr/>
            <p:nvPr/>
          </p:nvSpPr>
          <p:spPr>
            <a:xfrm>
              <a:off x="1671829" y="5209161"/>
              <a:ext cx="668680" cy="66868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101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41B3033-AA78-4BD6-A0F5-1C3ECBAFD0BD}"/>
                </a:ext>
              </a:extLst>
            </p:cNvPr>
            <p:cNvSpPr/>
            <p:nvPr/>
          </p:nvSpPr>
          <p:spPr>
            <a:xfrm>
              <a:off x="5444143" y="5209161"/>
              <a:ext cx="668680" cy="66868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201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7929451B-F0E9-4AAF-B976-36BB5DBE6C30}"/>
                </a:ext>
              </a:extLst>
            </p:cNvPr>
            <p:cNvSpPr/>
            <p:nvPr/>
          </p:nvSpPr>
          <p:spPr>
            <a:xfrm>
              <a:off x="9216457" y="5209161"/>
              <a:ext cx="668680" cy="66868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101</a:t>
              </a:r>
              <a:br>
                <a:rPr lang="en-GB" sz="1400" b="1" dirty="0">
                  <a:solidFill>
                    <a:schemeClr val="tx1"/>
                  </a:solidFill>
                </a:rPr>
              </a:br>
              <a:r>
                <a:rPr lang="en-GB" sz="1400" b="1" dirty="0">
                  <a:solidFill>
                    <a:schemeClr val="tx1"/>
                  </a:solidFill>
                </a:rPr>
                <a:t>201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628D480-28C5-4F49-95E8-FCFD031EEEF7}"/>
                </a:ext>
              </a:extLst>
            </p:cNvPr>
            <p:cNvSpPr/>
            <p:nvPr/>
          </p:nvSpPr>
          <p:spPr>
            <a:xfrm>
              <a:off x="6966919" y="56071"/>
              <a:ext cx="668680" cy="66868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chemeClr val="tx1"/>
                  </a:solidFill>
                </a:rPr>
                <a:t>10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44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XC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3CB0297-229A-4D6A-A37A-FF8AB92BF272}" vid="{8C2B9180-97CD-4883-B2FE-0BF89CE0C186}"/>
    </a:ext>
  </a:extLst>
</a:theme>
</file>

<file path=ppt/theme/theme2.xml><?xml version="1.0" encoding="utf-8"?>
<a:theme xmlns:a="http://schemas.openxmlformats.org/drawingml/2006/main" name="6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XC.16.9</Template>
  <TotalTime>6803</TotalTime>
  <Words>665</Words>
  <Application>Microsoft Office PowerPoint</Application>
  <PresentationFormat>Custom</PresentationFormat>
  <Paragraphs>230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Arial Narrow</vt:lpstr>
      <vt:lpstr>GT Walsheim Pro Bold</vt:lpstr>
      <vt:lpstr>Metric Bold</vt:lpstr>
      <vt:lpstr>Metric Regular</vt:lpstr>
      <vt:lpstr>DXC</vt:lpstr>
      <vt:lpstr>6_HPE_Standard_Metric_16x9_v2</vt:lpstr>
      <vt:lpstr>think-cell Slide</vt:lpstr>
      <vt:lpstr>DXC Digital Explorer 101</vt:lpstr>
      <vt:lpstr>Introduction</vt:lpstr>
      <vt:lpstr>Digital Dynamics – ‘Strategy Sprints’ to an Actionable Plan </vt:lpstr>
      <vt:lpstr>Introduction Sessions</vt:lpstr>
      <vt:lpstr>PowerPoint Presentation</vt:lpstr>
      <vt:lpstr>PowerPoint Presentation</vt:lpstr>
      <vt:lpstr>PowerPoint Presentation</vt:lpstr>
      <vt:lpstr>PowerPoint Presentation</vt:lpstr>
      <vt:lpstr>Digital Explorer</vt:lpstr>
      <vt:lpstr>Industry Trends The Digital Explorer information model</vt:lpstr>
      <vt:lpstr>Industry Trends The Digital Explorer information model – Example</vt:lpstr>
      <vt:lpstr>Industry Trends &amp; Solutions</vt:lpstr>
      <vt:lpstr>Your Digital Workspace</vt:lpstr>
      <vt:lpstr>DEMO</vt:lpstr>
      <vt:lpstr>Learn More, Join the conversation, become part of the team</vt:lpstr>
    </vt:vector>
  </TitlesOfParts>
  <Manager/>
  <Company>DX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XC Knowledge Graph</dc:title>
  <dc:subject/>
  <dc:creator>Stevens, David (EMEA CT Office)</dc:creator>
  <cp:keywords/>
  <dc:description/>
  <cp:lastModifiedBy>David Stevens</cp:lastModifiedBy>
  <cp:revision>236</cp:revision>
  <dcterms:created xsi:type="dcterms:W3CDTF">2017-03-29T08:04:02Z</dcterms:created>
  <dcterms:modified xsi:type="dcterms:W3CDTF">2018-05-24T11:41:22Z</dcterms:modified>
  <cp:category/>
</cp:coreProperties>
</file>